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charts/chart1.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38.xml" ContentType="application/vnd.openxmlformats-officedocument.presentationml.tags+xml"/>
  <Override PartName="/ppt/notesSlides/notesSlide8.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9.xml" ContentType="application/vnd.openxmlformats-officedocument.presentationml.notesSlide+xml"/>
  <Override PartName="/ppt/tags/tag39.xml" ContentType="application/vnd.openxmlformats-officedocument.presentationml.tags+xml"/>
  <Override PartName="/ppt/notesSlides/notesSlide10.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48" r:id="rId1"/>
  </p:sldMasterIdLst>
  <p:notesMasterIdLst>
    <p:notesMasterId r:id="rId34"/>
  </p:notesMasterIdLst>
  <p:handoutMasterIdLst>
    <p:handoutMasterId r:id="rId35"/>
  </p:handoutMasterIdLst>
  <p:sldIdLst>
    <p:sldId id="1838" r:id="rId2"/>
    <p:sldId id="1829" r:id="rId3"/>
    <p:sldId id="1734" r:id="rId4"/>
    <p:sldId id="1849" r:id="rId5"/>
    <p:sldId id="1830" r:id="rId6"/>
    <p:sldId id="1850" r:id="rId7"/>
    <p:sldId id="1788" r:id="rId8"/>
    <p:sldId id="1832" r:id="rId9"/>
    <p:sldId id="1771" r:id="rId10"/>
    <p:sldId id="1854" r:id="rId11"/>
    <p:sldId id="1847" r:id="rId12"/>
    <p:sldId id="1853" r:id="rId13"/>
    <p:sldId id="1856" r:id="rId14"/>
    <p:sldId id="1857" r:id="rId15"/>
    <p:sldId id="1750" r:id="rId16"/>
    <p:sldId id="1732" r:id="rId17"/>
    <p:sldId id="1816" r:id="rId18"/>
    <p:sldId id="1818" r:id="rId19"/>
    <p:sldId id="1848" r:id="rId20"/>
    <p:sldId id="1789" r:id="rId21"/>
    <p:sldId id="1821" r:id="rId22"/>
    <p:sldId id="1836" r:id="rId23"/>
    <p:sldId id="1772" r:id="rId24"/>
    <p:sldId id="1790" r:id="rId25"/>
    <p:sldId id="1839" r:id="rId26"/>
    <p:sldId id="1840" r:id="rId27"/>
    <p:sldId id="1841" r:id="rId28"/>
    <p:sldId id="1792" r:id="rId29"/>
    <p:sldId id="1852" r:id="rId30"/>
    <p:sldId id="1815" r:id="rId31"/>
    <p:sldId id="1765" r:id="rId32"/>
    <p:sldId id="1766" r:id="rId33"/>
  </p:sldIdLst>
  <p:sldSz cx="8961438" cy="6721475"/>
  <p:notesSz cx="6797675" cy="9926638"/>
  <p:custDataLst>
    <p:tags r:id="rId36"/>
  </p:custDataLst>
  <p:defaultTextStyle>
    <a:defPPr>
      <a:defRPr lang="en-US"/>
    </a:defPPr>
    <a:lvl1pPr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1pPr>
    <a:lvl2pPr marL="457200"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2pPr>
    <a:lvl3pPr marL="914400"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3pPr>
    <a:lvl4pPr marL="1371600"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4pPr>
    <a:lvl5pPr marL="1828800" algn="l" rtl="0" fontAlgn="base">
      <a:spcBef>
        <a:spcPct val="0"/>
      </a:spcBef>
      <a:spcAft>
        <a:spcPct val="0"/>
      </a:spcAft>
      <a:defRPr sz="16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16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16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16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1600" kern="1200">
        <a:solidFill>
          <a:schemeClr val="tx1"/>
        </a:solidFill>
        <a:latin typeface="Arial" pitchFamily="34" charset="0"/>
        <a:ea typeface="ＭＳ Ｐゴシック" pitchFamily="34" charset="-128"/>
        <a:cs typeface="+mn-cs"/>
      </a:defRPr>
    </a:lvl9pPr>
  </p:defaultTextStyle>
  <p:extLst>
    <p:ext uri="{EFAFB233-063F-42B5-8137-9DF3F51BA10A}">
      <p15:sldGuideLst xmlns:p15="http://schemas.microsoft.com/office/powerpoint/2012/main">
        <p15:guide id="1" orient="horz" pos="3490">
          <p15:clr>
            <a:srgbClr val="A4A3A4"/>
          </p15:clr>
        </p15:guide>
        <p15:guide id="2" orient="horz" pos="184">
          <p15:clr>
            <a:srgbClr val="A4A3A4"/>
          </p15:clr>
        </p15:guide>
        <p15:guide id="3" orient="horz" pos="652">
          <p15:clr>
            <a:srgbClr val="A4A3A4"/>
          </p15:clr>
        </p15:guide>
        <p15:guide id="4" orient="horz" pos="1078">
          <p15:clr>
            <a:srgbClr val="A4A3A4"/>
          </p15:clr>
        </p15:guide>
        <p15:guide id="5" pos="5571">
          <p15:clr>
            <a:srgbClr val="A4A3A4"/>
          </p15:clr>
        </p15:guide>
        <p15:guide id="6" pos="87">
          <p15:clr>
            <a:srgbClr val="A4A3A4"/>
          </p15:clr>
        </p15:guide>
        <p15:guide id="7" pos="363">
          <p15:clr>
            <a:srgbClr val="A4A3A4"/>
          </p15:clr>
        </p15:guide>
      </p15:sldGuideLst>
    </p:ext>
    <p:ext uri="{2D200454-40CA-4A62-9FC3-DE9A4176ACB9}">
      <p15:notesGuideLst xmlns:p15="http://schemas.microsoft.com/office/powerpoint/2012/main">
        <p15:guide id="1" orient="horz" pos="6090">
          <p15:clr>
            <a:srgbClr val="A4A3A4"/>
          </p15:clr>
        </p15:guide>
        <p15:guide id="2" pos="509">
          <p15:clr>
            <a:srgbClr val="A4A3A4"/>
          </p15:clr>
        </p15:guide>
        <p15:guide id="3" pos="3805">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hadjihanna" initials="a" lastIdx="6"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980BC"/>
    <a:srgbClr val="C0C0C0"/>
    <a:srgbClr val="11AF19"/>
    <a:srgbClr val="17E721"/>
    <a:srgbClr val="006600"/>
    <a:srgbClr val="FFFF00"/>
    <a:srgbClr val="DDDDDD"/>
    <a:srgbClr val="0029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34587" autoAdjust="0"/>
    <p:restoredTop sz="99885" autoAdjust="0"/>
  </p:normalViewPr>
  <p:slideViewPr>
    <p:cSldViewPr snapToGrid="0">
      <p:cViewPr varScale="1">
        <p:scale>
          <a:sx n="116" d="100"/>
          <a:sy n="116" d="100"/>
        </p:scale>
        <p:origin x="1152" y="114"/>
      </p:cViewPr>
      <p:guideLst>
        <p:guide orient="horz" pos="3490"/>
        <p:guide orient="horz" pos="184"/>
        <p:guide orient="horz" pos="652"/>
        <p:guide orient="horz" pos="1078"/>
        <p:guide pos="5571"/>
        <p:guide pos="87"/>
        <p:guide pos="36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p:cViewPr varScale="1">
        <p:scale>
          <a:sx n="58" d="100"/>
          <a:sy n="58" d="100"/>
        </p:scale>
        <p:origin x="-1810" y="-86"/>
      </p:cViewPr>
      <p:guideLst>
        <p:guide orient="horz" pos="6090"/>
        <p:guide pos="509"/>
        <p:guide pos="3805"/>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42"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oleObject" Target="file:///\\hio02\HIO%20Data\P.Georgoude\healthcare%20expenditure.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31"/>
    </mc:Choice>
    <mc:Fallback>
      <c:style val="31"/>
    </mc:Fallback>
  </mc:AlternateContent>
  <c:chart>
    <c:autoTitleDeleted val="1"/>
    <c:plotArea>
      <c:layout>
        <c:manualLayout>
          <c:layoutTarget val="inner"/>
          <c:xMode val="edge"/>
          <c:yMode val="edge"/>
          <c:x val="1.7560707157233343E-2"/>
          <c:y val="0.13279513001296842"/>
          <c:w val="0.97470049975285356"/>
          <c:h val="0.72107155083875385"/>
        </c:manualLayout>
      </c:layout>
      <c:barChart>
        <c:barDir val="col"/>
        <c:grouping val="clustered"/>
        <c:varyColors val="0"/>
        <c:ser>
          <c:idx val="0"/>
          <c:order val="0"/>
          <c:tx>
            <c:strRef>
              <c:f>Sheet3!$L$18</c:f>
              <c:strCache>
                <c:ptCount val="1"/>
                <c:pt idx="0">
                  <c:v>Ιδιωτικές δαπάνες</c:v>
                </c:pt>
              </c:strCache>
            </c:strRef>
          </c:tx>
          <c:spPr>
            <a:solidFill>
              <a:schemeClr val="accent6">
                <a:lumMod val="75000"/>
              </a:schemeClr>
            </a:solidFill>
            <a:scene3d>
              <a:camera prst="orthographicFront"/>
              <a:lightRig rig="threePt" dir="t">
                <a:rot lat="0" lon="0" rev="1200000"/>
              </a:lightRig>
            </a:scene3d>
            <a:sp3d/>
          </c:spPr>
          <c:invertIfNegative val="0"/>
          <c:dLbls>
            <c:dLbl>
              <c:idx val="0"/>
              <c:tx>
                <c:rich>
                  <a:bodyPr/>
                  <a:lstStyle/>
                  <a:p>
                    <a:r>
                      <a:rPr lang="en-GB" dirty="0"/>
                      <a:t>55%</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054-4F17-81AF-30B85A3828A0}"/>
                </c:ext>
              </c:extLst>
            </c:dLbl>
            <c:dLbl>
              <c:idx val="5"/>
              <c:layout>
                <c:manualLayout>
                  <c:x val="-1.7712830114154951E-3"/>
                  <c:y val="-1.25627806754338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054-4F17-81AF-30B85A3828A0}"/>
                </c:ext>
              </c:extLst>
            </c:dLbl>
            <c:spPr>
              <a:noFill/>
              <a:ln>
                <a:noFill/>
              </a:ln>
              <a:effectLst/>
            </c:spPr>
            <c:txPr>
              <a:bodyPr/>
              <a:lstStyle/>
              <a:p>
                <a:pPr>
                  <a:defRPr lang="en-GB" sz="1100" b="1"/>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3!$K$19:$K$25</c:f>
              <c:strCache>
                <c:ptCount val="7"/>
                <c:pt idx="0">
                  <c:v>Κύπρος</c:v>
                </c:pt>
                <c:pt idx="1">
                  <c:v>Γερμανία</c:v>
                </c:pt>
                <c:pt idx="2">
                  <c:v>Ελλάδα</c:v>
                </c:pt>
                <c:pt idx="3">
                  <c:v>Γαλλία</c:v>
                </c:pt>
                <c:pt idx="4">
                  <c:v>Ολλανδία</c:v>
                </c:pt>
                <c:pt idx="5">
                  <c:v>Ηνωμένο Βασίλειο</c:v>
                </c:pt>
                <c:pt idx="6">
                  <c:v>Μέσος όρος ΕΕ</c:v>
                </c:pt>
              </c:strCache>
            </c:strRef>
          </c:cat>
          <c:val>
            <c:numRef>
              <c:f>Sheet3!$L$19:$L$25</c:f>
              <c:numCache>
                <c:formatCode>0%</c:formatCode>
                <c:ptCount val="7"/>
                <c:pt idx="0">
                  <c:v>0.58000000000000063</c:v>
                </c:pt>
                <c:pt idx="1">
                  <c:v>0.23200000000000001</c:v>
                </c:pt>
                <c:pt idx="2">
                  <c:v>0.39100000000000973</c:v>
                </c:pt>
                <c:pt idx="3">
                  <c:v>0.22200000000000294</c:v>
                </c:pt>
                <c:pt idx="4">
                  <c:v>0.17900000000000021</c:v>
                </c:pt>
                <c:pt idx="5">
                  <c:v>0.16300000000000331</c:v>
                </c:pt>
                <c:pt idx="6">
                  <c:v>0.22700000000000337</c:v>
                </c:pt>
              </c:numCache>
            </c:numRef>
          </c:val>
          <c:extLst>
            <c:ext xmlns:c16="http://schemas.microsoft.com/office/drawing/2014/chart" uri="{C3380CC4-5D6E-409C-BE32-E72D297353CC}">
              <c16:uniqueId val="{00000002-5054-4F17-81AF-30B85A3828A0}"/>
            </c:ext>
          </c:extLst>
        </c:ser>
        <c:ser>
          <c:idx val="1"/>
          <c:order val="1"/>
          <c:tx>
            <c:strRef>
              <c:f>Sheet3!$M$18</c:f>
              <c:strCache>
                <c:ptCount val="1"/>
                <c:pt idx="0">
                  <c:v>out of pocket</c:v>
                </c:pt>
              </c:strCache>
            </c:strRef>
          </c:tx>
          <c:spPr>
            <a:solidFill>
              <a:schemeClr val="accent6">
                <a:lumMod val="40000"/>
                <a:lumOff val="60000"/>
              </a:schemeClr>
            </a:solidFill>
            <a:scene3d>
              <a:camera prst="orthographicFront"/>
              <a:lightRig rig="threePt" dir="t">
                <a:rot lat="0" lon="0" rev="1200000"/>
              </a:lightRig>
            </a:scene3d>
            <a:sp3d/>
          </c:spPr>
          <c:invertIfNegative val="0"/>
          <c:dLbls>
            <c:dLbl>
              <c:idx val="0"/>
              <c:tx>
                <c:rich>
                  <a:bodyPr/>
                  <a:lstStyle/>
                  <a:p>
                    <a:r>
                      <a:rPr lang="en-GB" dirty="0"/>
                      <a:t>49%</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054-4F17-81AF-30B85A3828A0}"/>
                </c:ext>
              </c:extLst>
            </c:dLbl>
            <c:dLbl>
              <c:idx val="2"/>
              <c:layout>
                <c:manualLayout>
                  <c:x val="1.0975441973270392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054-4F17-81AF-30B85A3828A0}"/>
                </c:ext>
              </c:extLst>
            </c:dLbl>
            <c:dLbl>
              <c:idx val="3"/>
              <c:layout>
                <c:manualLayout>
                  <c:x val="-2.1951356942257849E-3"/>
                  <c:y val="1.194675473749974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054-4F17-81AF-30B85A3828A0}"/>
                </c:ext>
              </c:extLst>
            </c:dLbl>
            <c:dLbl>
              <c:idx val="4"/>
              <c:layout>
                <c:manualLayout>
                  <c:x val="-2.1950883946540781E-3"/>
                  <c:y val="1.85185185185191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054-4F17-81AF-30B85A3828A0}"/>
                </c:ext>
              </c:extLst>
            </c:dLbl>
            <c:dLbl>
              <c:idx val="5"/>
              <c:layout>
                <c:manualLayout>
                  <c:x val="0"/>
                  <c:y val="-1.790281329923388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054-4F17-81AF-30B85A3828A0}"/>
                </c:ext>
              </c:extLst>
            </c:dLbl>
            <c:dLbl>
              <c:idx val="6"/>
              <c:layout>
                <c:manualLayout>
                  <c:x val="-2.1950883946540781E-3"/>
                  <c:y val="1.85185185185190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054-4F17-81AF-30B85A3828A0}"/>
                </c:ext>
              </c:extLst>
            </c:dLbl>
            <c:spPr>
              <a:noFill/>
              <a:ln>
                <a:noFill/>
              </a:ln>
              <a:effectLst/>
            </c:spPr>
            <c:txPr>
              <a:bodyPr/>
              <a:lstStyle/>
              <a:p>
                <a:pPr>
                  <a:defRPr lang="en-GB" sz="1100" b="1">
                    <a:solidFill>
                      <a:srgbClr val="FF0000"/>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3!$K$19:$K$25</c:f>
              <c:strCache>
                <c:ptCount val="7"/>
                <c:pt idx="0">
                  <c:v>Κύπρος</c:v>
                </c:pt>
                <c:pt idx="1">
                  <c:v>Γερμανία</c:v>
                </c:pt>
                <c:pt idx="2">
                  <c:v>Ελλάδα</c:v>
                </c:pt>
                <c:pt idx="3">
                  <c:v>Γαλλία</c:v>
                </c:pt>
                <c:pt idx="4">
                  <c:v>Ολλανδία</c:v>
                </c:pt>
                <c:pt idx="5">
                  <c:v>Ηνωμένο Βασίλειο</c:v>
                </c:pt>
                <c:pt idx="6">
                  <c:v>Μέσος όρος ΕΕ</c:v>
                </c:pt>
              </c:strCache>
            </c:strRef>
          </c:cat>
          <c:val>
            <c:numRef>
              <c:f>Sheet3!$M$19:$M$25</c:f>
              <c:numCache>
                <c:formatCode>0%</c:formatCode>
                <c:ptCount val="7"/>
                <c:pt idx="0">
                  <c:v>0.502</c:v>
                </c:pt>
                <c:pt idx="1">
                  <c:v>0.13</c:v>
                </c:pt>
                <c:pt idx="2">
                  <c:v>0.37000000000000038</c:v>
                </c:pt>
                <c:pt idx="3">
                  <c:v>7.400000000000248E-2</c:v>
                </c:pt>
                <c:pt idx="4">
                  <c:v>5.7000000000000134E-2</c:v>
                </c:pt>
                <c:pt idx="5">
                  <c:v>0.11100000000000022</c:v>
                </c:pt>
                <c:pt idx="6">
                  <c:v>0.14400000000000004</c:v>
                </c:pt>
              </c:numCache>
            </c:numRef>
          </c:val>
          <c:extLst>
            <c:ext xmlns:c16="http://schemas.microsoft.com/office/drawing/2014/chart" uri="{C3380CC4-5D6E-409C-BE32-E72D297353CC}">
              <c16:uniqueId val="{00000009-5054-4F17-81AF-30B85A3828A0}"/>
            </c:ext>
          </c:extLst>
        </c:ser>
        <c:dLbls>
          <c:showLegendKey val="0"/>
          <c:showVal val="1"/>
          <c:showCatName val="0"/>
          <c:showSerName val="0"/>
          <c:showPercent val="0"/>
          <c:showBubbleSize val="0"/>
        </c:dLbls>
        <c:gapWidth val="150"/>
        <c:overlap val="-25"/>
        <c:axId val="89245952"/>
        <c:axId val="90268416"/>
      </c:barChart>
      <c:catAx>
        <c:axId val="89245952"/>
        <c:scaling>
          <c:orientation val="minMax"/>
        </c:scaling>
        <c:delete val="0"/>
        <c:axPos val="b"/>
        <c:numFmt formatCode="General" sourceLinked="0"/>
        <c:majorTickMark val="none"/>
        <c:minorTickMark val="none"/>
        <c:tickLblPos val="nextTo"/>
        <c:txPr>
          <a:bodyPr/>
          <a:lstStyle/>
          <a:p>
            <a:pPr>
              <a:defRPr lang="en-GB" b="1"/>
            </a:pPr>
            <a:endParaRPr lang="en-US"/>
          </a:p>
        </c:txPr>
        <c:crossAx val="90268416"/>
        <c:crosses val="autoZero"/>
        <c:auto val="1"/>
        <c:lblAlgn val="ctr"/>
        <c:lblOffset val="100"/>
        <c:noMultiLvlLbl val="0"/>
      </c:catAx>
      <c:valAx>
        <c:axId val="90268416"/>
        <c:scaling>
          <c:orientation val="minMax"/>
        </c:scaling>
        <c:delete val="1"/>
        <c:axPos val="l"/>
        <c:numFmt formatCode="0%" sourceLinked="1"/>
        <c:majorTickMark val="none"/>
        <c:minorTickMark val="none"/>
        <c:tickLblPos val="none"/>
        <c:crossAx val="89245952"/>
        <c:crosses val="autoZero"/>
        <c:crossBetween val="between"/>
      </c:valAx>
    </c:plotArea>
    <c:legend>
      <c:legendPos val="t"/>
      <c:layout>
        <c:manualLayout>
          <c:xMode val="edge"/>
          <c:yMode val="edge"/>
          <c:x val="0"/>
          <c:y val="6.9860160922510628E-2"/>
          <c:w val="0.44366683522358624"/>
          <c:h val="8.3717191601050067E-2"/>
        </c:manualLayout>
      </c:layout>
      <c:overlay val="0"/>
      <c:txPr>
        <a:bodyPr/>
        <a:lstStyle/>
        <a:p>
          <a:pPr>
            <a:defRPr lang="en-GB" b="1"/>
          </a:pPr>
          <a:endParaRPr lang="en-US"/>
        </a:p>
      </c:txPr>
    </c:legend>
    <c:plotVisOnly val="1"/>
    <c:dispBlanksAs val="gap"/>
    <c:showDLblsOverMax val="0"/>
  </c:chart>
  <c:spPr>
    <a:ln>
      <a:noFill/>
    </a:ln>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6_4">
  <dgm:title val=""/>
  <dgm:desc val=""/>
  <dgm:catLst>
    <dgm:cat type="accent6" pri="11400"/>
  </dgm:catLst>
  <dgm:styleLbl name="node0">
    <dgm:fillClrLst meth="cycle">
      <a:schemeClr val="accent6">
        <a:shade val="60000"/>
      </a:schemeClr>
    </dgm:fillClrLst>
    <dgm:linClrLst meth="repeat">
      <a:schemeClr val="lt1"/>
    </dgm:linClrLst>
    <dgm:effectClrLst/>
    <dgm:txLinClrLst/>
    <dgm:txFillClrLst/>
    <dgm:txEffectClrLst/>
  </dgm:styleLbl>
  <dgm:styleLbl name="alignNode1">
    <dgm:fillClrLst meth="cycle">
      <a:schemeClr val="accent6">
        <a:shade val="50000"/>
      </a:schemeClr>
      <a:schemeClr val="accent6">
        <a:tint val="55000"/>
      </a:schemeClr>
    </dgm:fillClrLst>
    <dgm:linClrLst meth="cycle">
      <a:schemeClr val="accent6">
        <a:shade val="50000"/>
      </a:schemeClr>
      <a:schemeClr val="accent6">
        <a:tint val="55000"/>
      </a:schemeClr>
    </dgm:linClrLst>
    <dgm:effectClrLst/>
    <dgm:txLinClrLst/>
    <dgm:txFillClrLst/>
    <dgm:txEffectClrLst/>
  </dgm:styleLbl>
  <dgm:styleLbl name="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lnNode1">
    <dgm:fillClrLst meth="cycle">
      <a:schemeClr val="accent6">
        <a:shade val="50000"/>
      </a:schemeClr>
      <a:schemeClr val="accent6">
        <a:tint val="55000"/>
      </a:schemeClr>
    </dgm:fillClrLst>
    <dgm:linClrLst meth="repeat">
      <a:schemeClr val="lt1"/>
    </dgm:linClrLst>
    <dgm:effectClrLst/>
    <dgm:txLinClrLst/>
    <dgm:txFillClrLst/>
    <dgm:txEffectClrLst/>
  </dgm:styleLbl>
  <dgm:styleLbl name="vennNode1">
    <dgm:fillClrLst meth="cycle">
      <a:schemeClr val="accent6">
        <a:shade val="80000"/>
        <a:alpha val="50000"/>
      </a:schemeClr>
      <a:schemeClr val="accent6">
        <a:tint val="50000"/>
        <a:alpha val="50000"/>
      </a:schemeClr>
    </dgm:fillClrLst>
    <dgm:linClrLst meth="repeat">
      <a:schemeClr val="lt1"/>
    </dgm:linClrLst>
    <dgm:effectClrLst/>
    <dgm:txLinClrLst/>
    <dgm:txFillClrLst/>
    <dgm:txEffectClrLst/>
  </dgm:styleLbl>
  <dgm:styleLbl name="node2">
    <dgm:fillClrLst>
      <a:schemeClr val="accent6">
        <a:shade val="80000"/>
      </a:schemeClr>
    </dgm:fillClrLst>
    <dgm:linClrLst meth="repeat">
      <a:schemeClr val="lt1"/>
    </dgm:linClrLst>
    <dgm:effectClrLst/>
    <dgm:txLinClrLst/>
    <dgm:txFillClrLst/>
    <dgm:txEffectClrLst/>
  </dgm:styleLbl>
  <dgm:styleLbl name="node3">
    <dgm:fillClrLst>
      <a:schemeClr val="accent6">
        <a:tint val="99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f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bgSibTrans2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dgm:txEffectClrLst/>
  </dgm:styleLbl>
  <dgm:styleLbl name="sibTrans1D1">
    <dgm:fillClrLst meth="cycle">
      <a:schemeClr val="accent6">
        <a:shade val="90000"/>
      </a:schemeClr>
      <a:schemeClr val="accent6">
        <a:tint val="50000"/>
      </a:schemeClr>
    </dgm:fillClrLst>
    <dgm:linClrLst meth="cycle">
      <a:schemeClr val="accent6">
        <a:shade val="90000"/>
      </a:schemeClr>
      <a:schemeClr val="accent6">
        <a:tint val="5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0000"/>
      </a:schemeClr>
    </dgm:fillClrLst>
    <dgm:linClrLst meth="repeat">
      <a:schemeClr val="lt1"/>
    </dgm:linClrLst>
    <dgm:effectClrLst/>
    <dgm:txLinClrLst/>
    <dgm:txFillClrLst/>
    <dgm:txEffectClrLst/>
  </dgm:styleLbl>
  <dgm:styleLbl name="asst3">
    <dgm:fillClrLst>
      <a:schemeClr val="accent6">
        <a:tint val="70000"/>
      </a:schemeClr>
    </dgm:fillClrLst>
    <dgm:linClrLst meth="repeat">
      <a:schemeClr val="lt1"/>
    </dgm:linClrLst>
    <dgm:effectClrLst/>
    <dgm:txLinClrLst/>
    <dgm:txFillClrLst/>
    <dgm:txEffectClrLst/>
  </dgm:styleLbl>
  <dgm:styleLbl name="asst4">
    <dgm:fillClrLst>
      <a:schemeClr val="accent6">
        <a:tint val="5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6">
        <a:shade val="50000"/>
      </a:schemeClr>
      <a:schemeClr val="accent6">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alignAccFollowNode1">
    <dgm:fillClrLst meth="repeat">
      <a:schemeClr val="accent6">
        <a:alpha val="90000"/>
        <a:tint val="55000"/>
      </a:schemeClr>
    </dgm:fillClrLst>
    <dgm:linClrLst meth="repeat">
      <a:schemeClr val="accent6">
        <a:alpha val="90000"/>
        <a:tint val="55000"/>
      </a:schemeClr>
    </dgm:linClrLst>
    <dgm:effectClrLst/>
    <dgm:txLinClrLst/>
    <dgm:txFillClrLst meth="repeat">
      <a:schemeClr val="dk1"/>
    </dgm:txFillClrLst>
    <dgm:txEffectClrLst/>
  </dgm:styleLbl>
  <dgm:styleLbl name="bgAccFollowNode1">
    <dgm:fillClrLst meth="repeat">
      <a:schemeClr val="accent6">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bgShp">
    <dgm:fillClrLst meth="repeat">
      <a:schemeClr val="accent6">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55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E08DE6E-8827-4F3C-9C19-4762C6011F1A}" type="doc">
      <dgm:prSet loTypeId="urn:microsoft.com/office/officeart/2005/8/layout/chevron2" loCatId="process" qsTypeId="urn:microsoft.com/office/officeart/2005/8/quickstyle/simple1" qsCatId="simple" csTypeId="urn:microsoft.com/office/officeart/2005/8/colors/accent2_1" csCatId="accent2" phldr="1"/>
      <dgm:spPr/>
      <dgm:t>
        <a:bodyPr/>
        <a:lstStyle/>
        <a:p>
          <a:endParaRPr lang="en-GB"/>
        </a:p>
      </dgm:t>
    </dgm:pt>
    <dgm:pt modelId="{1CE95C65-5C7E-4E76-8C03-5BDCE8A6F105}">
      <dgm:prSet phldrT="[Text]"/>
      <dgm:spPr/>
      <dgm:t>
        <a:bodyPr/>
        <a:lstStyle/>
        <a:p>
          <a:r>
            <a:rPr lang="el-GR" dirty="0"/>
            <a:t>Τα προβλήματα στον τομέα της υγείας σήμερα:</a:t>
          </a:r>
          <a:endParaRPr lang="en-GB" dirty="0"/>
        </a:p>
      </dgm:t>
    </dgm:pt>
    <dgm:pt modelId="{887BA670-D1AB-4ECD-B7AC-6FBE5FF37EFB}" type="parTrans" cxnId="{A35DBEE4-EB33-4840-BC88-1B15FB3C113B}">
      <dgm:prSet/>
      <dgm:spPr/>
      <dgm:t>
        <a:bodyPr/>
        <a:lstStyle/>
        <a:p>
          <a:endParaRPr lang="en-GB"/>
        </a:p>
      </dgm:t>
    </dgm:pt>
    <dgm:pt modelId="{A4FDAEBF-FF38-40FF-A5F4-DFEC7A52CFC0}" type="sibTrans" cxnId="{A35DBEE4-EB33-4840-BC88-1B15FB3C113B}">
      <dgm:prSet/>
      <dgm:spPr/>
      <dgm:t>
        <a:bodyPr/>
        <a:lstStyle/>
        <a:p>
          <a:endParaRPr lang="en-GB"/>
        </a:p>
      </dgm:t>
    </dgm:pt>
    <dgm:pt modelId="{31F8D5CB-C55C-4F73-BC98-BC52391A6122}">
      <dgm:prSet phldrT="[Text]"/>
      <dgm:spPr/>
      <dgm:t>
        <a:bodyPr/>
        <a:lstStyle/>
        <a:p>
          <a:r>
            <a:rPr lang="el-GR" dirty="0"/>
            <a:t>Απουσία καθολικής κάλυψης &amp; ισότιμης πρόσβασης</a:t>
          </a:r>
          <a:endParaRPr lang="en-GB" dirty="0"/>
        </a:p>
      </dgm:t>
    </dgm:pt>
    <dgm:pt modelId="{37F27458-6788-4BB0-9DFE-C4EA741F5F85}" type="parTrans" cxnId="{8986F4B3-ED04-4B60-969E-1E2857ED5DF5}">
      <dgm:prSet/>
      <dgm:spPr/>
      <dgm:t>
        <a:bodyPr/>
        <a:lstStyle/>
        <a:p>
          <a:endParaRPr lang="en-GB"/>
        </a:p>
      </dgm:t>
    </dgm:pt>
    <dgm:pt modelId="{F0653270-0ED0-41E2-991A-9359ECDAF021}" type="sibTrans" cxnId="{8986F4B3-ED04-4B60-969E-1E2857ED5DF5}">
      <dgm:prSet/>
      <dgm:spPr/>
      <dgm:t>
        <a:bodyPr/>
        <a:lstStyle/>
        <a:p>
          <a:endParaRPr lang="en-GB"/>
        </a:p>
      </dgm:t>
    </dgm:pt>
    <dgm:pt modelId="{105A4482-1FEF-4C7B-9428-7B6DBE72401D}">
      <dgm:prSet phldrT="[Text]"/>
      <dgm:spPr/>
      <dgm:t>
        <a:bodyPr/>
        <a:lstStyle/>
        <a:p>
          <a:r>
            <a:rPr lang="el-GR" dirty="0"/>
            <a:t>Υπερφόρτωση δημόσιου τομέα</a:t>
          </a:r>
          <a:endParaRPr lang="en-GB" dirty="0"/>
        </a:p>
      </dgm:t>
    </dgm:pt>
    <dgm:pt modelId="{F0B82500-A82E-4BC4-B505-2D258497588C}" type="parTrans" cxnId="{E95A48A7-0288-4A72-97AA-D0D911ABF752}">
      <dgm:prSet/>
      <dgm:spPr/>
      <dgm:t>
        <a:bodyPr/>
        <a:lstStyle/>
        <a:p>
          <a:endParaRPr lang="en-GB"/>
        </a:p>
      </dgm:t>
    </dgm:pt>
    <dgm:pt modelId="{923A2932-7654-4BDE-A347-F12F5878E5DD}" type="sibTrans" cxnId="{E95A48A7-0288-4A72-97AA-D0D911ABF752}">
      <dgm:prSet/>
      <dgm:spPr/>
      <dgm:t>
        <a:bodyPr/>
        <a:lstStyle/>
        <a:p>
          <a:endParaRPr lang="en-GB"/>
        </a:p>
      </dgm:t>
    </dgm:pt>
    <dgm:pt modelId="{3DA37FF3-9864-4327-A778-CF6E0570E4D9}">
      <dgm:prSet/>
      <dgm:spPr/>
      <dgm:t>
        <a:bodyPr/>
        <a:lstStyle/>
        <a:p>
          <a:r>
            <a:rPr lang="el-GR" dirty="0"/>
            <a:t>Διπλές υποδομές και σπατάλη πόρων</a:t>
          </a:r>
          <a:endParaRPr lang="en-GB" dirty="0"/>
        </a:p>
      </dgm:t>
    </dgm:pt>
    <dgm:pt modelId="{20E0BADC-4AE9-49A1-8FC4-95D4034BA780}" type="parTrans" cxnId="{4BE2D2C4-F6F4-42D5-94AF-12F5E3664BEB}">
      <dgm:prSet/>
      <dgm:spPr/>
      <dgm:t>
        <a:bodyPr/>
        <a:lstStyle/>
        <a:p>
          <a:endParaRPr lang="en-GB"/>
        </a:p>
      </dgm:t>
    </dgm:pt>
    <dgm:pt modelId="{E54CCA55-A0B8-4762-A53F-27CE3430BEA1}" type="sibTrans" cxnId="{4BE2D2C4-F6F4-42D5-94AF-12F5E3664BEB}">
      <dgm:prSet/>
      <dgm:spPr/>
      <dgm:t>
        <a:bodyPr/>
        <a:lstStyle/>
        <a:p>
          <a:endParaRPr lang="en-GB"/>
        </a:p>
      </dgm:t>
    </dgm:pt>
    <dgm:pt modelId="{CCA37D29-D989-479F-BE8F-DE59A75C912C}">
      <dgm:prSet phldrT="[Text]"/>
      <dgm:spPr/>
      <dgm:t>
        <a:bodyPr/>
        <a:lstStyle/>
        <a:p>
          <a:r>
            <a:rPr lang="el-GR" dirty="0"/>
            <a:t>Πολύ ψηλό % δαπανών καταβάλλεται απευθείας από τους ασθενείς</a:t>
          </a:r>
          <a:endParaRPr lang="en-GB" dirty="0"/>
        </a:p>
      </dgm:t>
    </dgm:pt>
    <dgm:pt modelId="{E88147C0-D740-4A44-A0ED-CB1659CEC2CD}" type="parTrans" cxnId="{F15BF5C5-6FA0-4FC6-9A8D-D5C37FDDF6F7}">
      <dgm:prSet/>
      <dgm:spPr/>
      <dgm:t>
        <a:bodyPr/>
        <a:lstStyle/>
        <a:p>
          <a:endParaRPr lang="el-GR"/>
        </a:p>
      </dgm:t>
    </dgm:pt>
    <dgm:pt modelId="{110A81BE-14B6-4B97-A2DF-B8FAEF148FA0}" type="sibTrans" cxnId="{F15BF5C5-6FA0-4FC6-9A8D-D5C37FDDF6F7}">
      <dgm:prSet/>
      <dgm:spPr/>
      <dgm:t>
        <a:bodyPr/>
        <a:lstStyle/>
        <a:p>
          <a:endParaRPr lang="el-GR"/>
        </a:p>
      </dgm:t>
    </dgm:pt>
    <dgm:pt modelId="{136C9FE6-1DF3-47A5-8CA5-6AD380E08F87}" type="pres">
      <dgm:prSet presAssocID="{BE08DE6E-8827-4F3C-9C19-4762C6011F1A}" presName="linearFlow" presStyleCnt="0">
        <dgm:presLayoutVars>
          <dgm:dir/>
          <dgm:animLvl val="lvl"/>
          <dgm:resizeHandles val="exact"/>
        </dgm:presLayoutVars>
      </dgm:prSet>
      <dgm:spPr/>
    </dgm:pt>
    <dgm:pt modelId="{20CB0D02-8CFA-4E0B-B6FF-090881F7990E}" type="pres">
      <dgm:prSet presAssocID="{1CE95C65-5C7E-4E76-8C03-5BDCE8A6F105}" presName="composite" presStyleCnt="0"/>
      <dgm:spPr/>
    </dgm:pt>
    <dgm:pt modelId="{03D6E8BD-8ED4-449F-A048-9CEAFEEBA271}" type="pres">
      <dgm:prSet presAssocID="{1CE95C65-5C7E-4E76-8C03-5BDCE8A6F105}" presName="parentText" presStyleLbl="alignNode1" presStyleIdx="0" presStyleCnt="1">
        <dgm:presLayoutVars>
          <dgm:chMax val="1"/>
          <dgm:bulletEnabled val="1"/>
        </dgm:presLayoutVars>
      </dgm:prSet>
      <dgm:spPr/>
    </dgm:pt>
    <dgm:pt modelId="{3A4A7178-2121-49A5-B17C-685418218E06}" type="pres">
      <dgm:prSet presAssocID="{1CE95C65-5C7E-4E76-8C03-5BDCE8A6F105}" presName="descendantText" presStyleLbl="alignAcc1" presStyleIdx="0" presStyleCnt="1">
        <dgm:presLayoutVars>
          <dgm:bulletEnabled val="1"/>
        </dgm:presLayoutVars>
      </dgm:prSet>
      <dgm:spPr/>
    </dgm:pt>
  </dgm:ptLst>
  <dgm:cxnLst>
    <dgm:cxn modelId="{DFD4AE3B-D7FA-4BEE-97F2-7CDE1C40CDBE}" type="presOf" srcId="{3DA37FF3-9864-4327-A778-CF6E0570E4D9}" destId="{3A4A7178-2121-49A5-B17C-685418218E06}" srcOrd="0" destOrd="3" presId="urn:microsoft.com/office/officeart/2005/8/layout/chevron2"/>
    <dgm:cxn modelId="{A576B370-E780-4D2B-BA27-DC323A0EA607}" type="presOf" srcId="{31F8D5CB-C55C-4F73-BC98-BC52391A6122}" destId="{3A4A7178-2121-49A5-B17C-685418218E06}" srcOrd="0" destOrd="0" presId="urn:microsoft.com/office/officeart/2005/8/layout/chevron2"/>
    <dgm:cxn modelId="{5BB9548F-36B0-45F1-8849-D1FA7F6181E1}" type="presOf" srcId="{1CE95C65-5C7E-4E76-8C03-5BDCE8A6F105}" destId="{03D6E8BD-8ED4-449F-A048-9CEAFEEBA271}" srcOrd="0" destOrd="0" presId="urn:microsoft.com/office/officeart/2005/8/layout/chevron2"/>
    <dgm:cxn modelId="{E95A48A7-0288-4A72-97AA-D0D911ABF752}" srcId="{1CE95C65-5C7E-4E76-8C03-5BDCE8A6F105}" destId="{105A4482-1FEF-4C7B-9428-7B6DBE72401D}" srcOrd="2" destOrd="0" parTransId="{F0B82500-A82E-4BC4-B505-2D258497588C}" sibTransId="{923A2932-7654-4BDE-A347-F12F5878E5DD}"/>
    <dgm:cxn modelId="{8986F4B3-ED04-4B60-969E-1E2857ED5DF5}" srcId="{1CE95C65-5C7E-4E76-8C03-5BDCE8A6F105}" destId="{31F8D5CB-C55C-4F73-BC98-BC52391A6122}" srcOrd="0" destOrd="0" parTransId="{37F27458-6788-4BB0-9DFE-C4EA741F5F85}" sibTransId="{F0653270-0ED0-41E2-991A-9359ECDAF021}"/>
    <dgm:cxn modelId="{1DAD4AC4-A146-4880-892A-A632DF66D99B}" type="presOf" srcId="{CCA37D29-D989-479F-BE8F-DE59A75C912C}" destId="{3A4A7178-2121-49A5-B17C-685418218E06}" srcOrd="0" destOrd="1" presId="urn:microsoft.com/office/officeart/2005/8/layout/chevron2"/>
    <dgm:cxn modelId="{4BE2D2C4-F6F4-42D5-94AF-12F5E3664BEB}" srcId="{1CE95C65-5C7E-4E76-8C03-5BDCE8A6F105}" destId="{3DA37FF3-9864-4327-A778-CF6E0570E4D9}" srcOrd="3" destOrd="0" parTransId="{20E0BADC-4AE9-49A1-8FC4-95D4034BA780}" sibTransId="{E54CCA55-A0B8-4762-A53F-27CE3430BEA1}"/>
    <dgm:cxn modelId="{F15BF5C5-6FA0-4FC6-9A8D-D5C37FDDF6F7}" srcId="{1CE95C65-5C7E-4E76-8C03-5BDCE8A6F105}" destId="{CCA37D29-D989-479F-BE8F-DE59A75C912C}" srcOrd="1" destOrd="0" parTransId="{E88147C0-D740-4A44-A0ED-CB1659CEC2CD}" sibTransId="{110A81BE-14B6-4B97-A2DF-B8FAEF148FA0}"/>
    <dgm:cxn modelId="{A35DBEE4-EB33-4840-BC88-1B15FB3C113B}" srcId="{BE08DE6E-8827-4F3C-9C19-4762C6011F1A}" destId="{1CE95C65-5C7E-4E76-8C03-5BDCE8A6F105}" srcOrd="0" destOrd="0" parTransId="{887BA670-D1AB-4ECD-B7AC-6FBE5FF37EFB}" sibTransId="{A4FDAEBF-FF38-40FF-A5F4-DFEC7A52CFC0}"/>
    <dgm:cxn modelId="{9B2C51E7-FFE9-40F6-837F-994F9C34AF22}" type="presOf" srcId="{105A4482-1FEF-4C7B-9428-7B6DBE72401D}" destId="{3A4A7178-2121-49A5-B17C-685418218E06}" srcOrd="0" destOrd="2" presId="urn:microsoft.com/office/officeart/2005/8/layout/chevron2"/>
    <dgm:cxn modelId="{F8E440ED-9604-4956-8AA4-2677D73CBA1D}" type="presOf" srcId="{BE08DE6E-8827-4F3C-9C19-4762C6011F1A}" destId="{136C9FE6-1DF3-47A5-8CA5-6AD380E08F87}" srcOrd="0" destOrd="0" presId="urn:microsoft.com/office/officeart/2005/8/layout/chevron2"/>
    <dgm:cxn modelId="{19421594-A17F-4171-A32B-208A4172A7CE}" type="presParOf" srcId="{136C9FE6-1DF3-47A5-8CA5-6AD380E08F87}" destId="{20CB0D02-8CFA-4E0B-B6FF-090881F7990E}" srcOrd="0" destOrd="0" presId="urn:microsoft.com/office/officeart/2005/8/layout/chevron2"/>
    <dgm:cxn modelId="{0C39A24C-E2F8-411C-BABD-BE087743C600}" type="presParOf" srcId="{20CB0D02-8CFA-4E0B-B6FF-090881F7990E}" destId="{03D6E8BD-8ED4-449F-A048-9CEAFEEBA271}" srcOrd="0" destOrd="0" presId="urn:microsoft.com/office/officeart/2005/8/layout/chevron2"/>
    <dgm:cxn modelId="{47863D42-DD59-447C-86C1-8CC67D81D369}" type="presParOf" srcId="{20CB0D02-8CFA-4E0B-B6FF-090881F7990E}" destId="{3A4A7178-2121-49A5-B17C-685418218E06}"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6D4FF25-A436-4EC3-9E5E-3868E90E10C7}" type="doc">
      <dgm:prSet loTypeId="urn:microsoft.com/office/officeart/2005/8/layout/lProcess3" loCatId="process" qsTypeId="urn:microsoft.com/office/officeart/2005/8/quickstyle/simple1" qsCatId="simple" csTypeId="urn:microsoft.com/office/officeart/2005/8/colors/accent2_1" csCatId="accent2" phldr="1"/>
      <dgm:spPr/>
      <dgm:t>
        <a:bodyPr/>
        <a:lstStyle/>
        <a:p>
          <a:endParaRPr lang="en-GB"/>
        </a:p>
      </dgm:t>
    </dgm:pt>
    <dgm:pt modelId="{ED5FA491-D0E3-4F35-AD58-343C153634A9}">
      <dgm:prSet phldrT="[Text]" custT="1"/>
      <dgm:spPr/>
      <dgm:t>
        <a:bodyPr/>
        <a:lstStyle/>
        <a:p>
          <a:r>
            <a:rPr lang="el-GR" sz="1600" b="1" dirty="0"/>
            <a:t>Απευθείας </a:t>
          </a:r>
        </a:p>
        <a:p>
          <a:r>
            <a:rPr lang="el-GR" sz="1600" b="1" dirty="0"/>
            <a:t>πρόσβαση </a:t>
          </a:r>
        </a:p>
      </dgm:t>
    </dgm:pt>
    <dgm:pt modelId="{0E59C514-1030-4AA0-AF30-CBE40D1FC3ED}" type="parTrans" cxnId="{0FD343E4-8DBA-4D9A-AC41-DB08AA70741D}">
      <dgm:prSet/>
      <dgm:spPr/>
      <dgm:t>
        <a:bodyPr/>
        <a:lstStyle/>
        <a:p>
          <a:endParaRPr lang="en-GB"/>
        </a:p>
      </dgm:t>
    </dgm:pt>
    <dgm:pt modelId="{2644B259-8499-4B7E-8371-D685BF6797D8}" type="sibTrans" cxnId="{0FD343E4-8DBA-4D9A-AC41-DB08AA70741D}">
      <dgm:prSet/>
      <dgm:spPr/>
      <dgm:t>
        <a:bodyPr/>
        <a:lstStyle/>
        <a:p>
          <a:endParaRPr lang="en-GB"/>
        </a:p>
      </dgm:t>
    </dgm:pt>
    <dgm:pt modelId="{265A13ED-95DF-497C-A956-A581DFD3781C}">
      <dgm:prSet phldrT="[Text]" custT="1"/>
      <dgm:spPr>
        <a:solidFill>
          <a:schemeClr val="accent6">
            <a:lumMod val="20000"/>
            <a:lumOff val="80000"/>
            <a:alpha val="90000"/>
          </a:schemeClr>
        </a:solidFill>
      </dgm:spPr>
      <dgm:t>
        <a:bodyPr/>
        <a:lstStyle/>
        <a:p>
          <a:pPr algn="l"/>
          <a:r>
            <a:rPr lang="el-GR" sz="1800" dirty="0"/>
            <a:t>- Προσωπικοί Ιατροί</a:t>
          </a:r>
        </a:p>
        <a:p>
          <a:pPr algn="l"/>
          <a:r>
            <a:rPr lang="el-GR" sz="1800" dirty="0"/>
            <a:t>- Γυναικολόγοι (Γυναίκες που έχουν συμπληρώσει το 15ο έτος της ηλικίας τους)*</a:t>
          </a:r>
        </a:p>
        <a:p>
          <a:pPr algn="l"/>
          <a:r>
            <a:rPr lang="el-GR" sz="1800" dirty="0"/>
            <a:t>- Τμήματα Ατυχημάτων και Επειγόντων Περιστατικών* </a:t>
          </a:r>
        </a:p>
        <a:p>
          <a:pPr algn="l"/>
          <a:r>
            <a:rPr lang="el-GR" sz="1800" dirty="0"/>
            <a:t>- Οδοντίατροι για προληπτική οδοντιατρική φροντίδα</a:t>
          </a:r>
        </a:p>
        <a:p>
          <a:pPr algn="l"/>
          <a:r>
            <a:rPr lang="el-GR" sz="1800" dirty="0"/>
            <a:t>- Ασθενοφόρα</a:t>
          </a:r>
          <a:endParaRPr lang="en-GB" sz="1800" dirty="0"/>
        </a:p>
      </dgm:t>
    </dgm:pt>
    <dgm:pt modelId="{974C024B-B330-4834-980B-EE0867B2A8F7}" type="parTrans" cxnId="{89356B64-A389-4A47-A6F8-D166652BCE53}">
      <dgm:prSet/>
      <dgm:spPr/>
      <dgm:t>
        <a:bodyPr/>
        <a:lstStyle/>
        <a:p>
          <a:endParaRPr lang="en-GB"/>
        </a:p>
      </dgm:t>
    </dgm:pt>
    <dgm:pt modelId="{D0065DDE-E5CC-4CF0-8A8A-E6EF2780EDA7}" type="sibTrans" cxnId="{89356B64-A389-4A47-A6F8-D166652BCE53}">
      <dgm:prSet/>
      <dgm:spPr/>
      <dgm:t>
        <a:bodyPr/>
        <a:lstStyle/>
        <a:p>
          <a:endParaRPr lang="en-GB"/>
        </a:p>
      </dgm:t>
    </dgm:pt>
    <dgm:pt modelId="{A6E76F04-B2CC-4D84-9FEF-7F4AE5029D8B}">
      <dgm:prSet phldrT="[Text]" custT="1"/>
      <dgm:spPr/>
      <dgm:t>
        <a:bodyPr/>
        <a:lstStyle/>
        <a:p>
          <a:r>
            <a:rPr lang="el-GR" sz="1600" b="1" dirty="0"/>
            <a:t>Πρόσβαση μετά από εξασφάλιση παραπεμπτικού</a:t>
          </a:r>
          <a:endParaRPr lang="en-GB" sz="1600" b="1" dirty="0"/>
        </a:p>
      </dgm:t>
    </dgm:pt>
    <dgm:pt modelId="{1EE6C92E-64C6-477A-92B1-0ED63691E8A4}" type="parTrans" cxnId="{E8599F0E-DC71-4C23-85E6-873FD4623580}">
      <dgm:prSet/>
      <dgm:spPr/>
      <dgm:t>
        <a:bodyPr/>
        <a:lstStyle/>
        <a:p>
          <a:endParaRPr lang="en-GB"/>
        </a:p>
      </dgm:t>
    </dgm:pt>
    <dgm:pt modelId="{A5CAD199-B80F-41C2-A725-5226426E0E79}" type="sibTrans" cxnId="{E8599F0E-DC71-4C23-85E6-873FD4623580}">
      <dgm:prSet/>
      <dgm:spPr/>
      <dgm:t>
        <a:bodyPr/>
        <a:lstStyle/>
        <a:p>
          <a:endParaRPr lang="en-GB"/>
        </a:p>
      </dgm:t>
    </dgm:pt>
    <dgm:pt modelId="{104FDF8B-2427-4E1F-86AB-16B6CF680632}">
      <dgm:prSet phldrT="[Text]" custT="1"/>
      <dgm:spPr>
        <a:solidFill>
          <a:schemeClr val="accent6">
            <a:lumMod val="20000"/>
            <a:lumOff val="80000"/>
            <a:alpha val="90000"/>
          </a:schemeClr>
        </a:solidFill>
      </dgm:spPr>
      <dgm:t>
        <a:bodyPr/>
        <a:lstStyle/>
        <a:p>
          <a:pPr algn="l"/>
          <a:endParaRPr lang="el-GR" sz="1800" dirty="0"/>
        </a:p>
        <a:p>
          <a:pPr algn="l"/>
          <a:r>
            <a:rPr lang="el-GR" sz="1800" dirty="0"/>
            <a:t>- Ειδικοί Ιατροί*</a:t>
          </a:r>
        </a:p>
        <a:p>
          <a:pPr algn="l"/>
          <a:r>
            <a:rPr lang="el-GR" sz="1800" dirty="0"/>
            <a:t>- Εργαστήρια*</a:t>
          </a:r>
        </a:p>
        <a:p>
          <a:pPr algn="l"/>
          <a:r>
            <a:rPr lang="el-GR" sz="1800" dirty="0"/>
            <a:t>- Φαρμακεία*</a:t>
          </a:r>
        </a:p>
        <a:p>
          <a:pPr algn="l"/>
          <a:r>
            <a:rPr lang="el-GR" sz="1800" dirty="0"/>
            <a:t>- Νοσηλευτές, Μαίες και Άλλοι Επαγγελματίες Υγείας*</a:t>
          </a:r>
        </a:p>
        <a:p>
          <a:pPr algn="l"/>
          <a:r>
            <a:rPr lang="el-GR" sz="1800" dirty="0"/>
            <a:t>- Νοσηλευτήρια</a:t>
          </a:r>
        </a:p>
        <a:p>
          <a:pPr algn="l"/>
          <a:endParaRPr lang="en-GB" sz="1800" b="0" dirty="0"/>
        </a:p>
      </dgm:t>
    </dgm:pt>
    <dgm:pt modelId="{1F2482F1-5AFF-4E0E-9D56-424F2FF4D415}" type="parTrans" cxnId="{7963A9F6-82DE-4576-A216-59FF2F5F0A13}">
      <dgm:prSet/>
      <dgm:spPr/>
      <dgm:t>
        <a:bodyPr/>
        <a:lstStyle/>
        <a:p>
          <a:endParaRPr lang="en-GB"/>
        </a:p>
      </dgm:t>
    </dgm:pt>
    <dgm:pt modelId="{D1A4A476-CA90-4915-9484-49A52EDC3A01}" type="sibTrans" cxnId="{7963A9F6-82DE-4576-A216-59FF2F5F0A13}">
      <dgm:prSet/>
      <dgm:spPr/>
      <dgm:t>
        <a:bodyPr/>
        <a:lstStyle/>
        <a:p>
          <a:endParaRPr lang="en-GB"/>
        </a:p>
      </dgm:t>
    </dgm:pt>
    <dgm:pt modelId="{2EB4F955-16D8-4CCA-803E-1C881B87F968}" type="pres">
      <dgm:prSet presAssocID="{D6D4FF25-A436-4EC3-9E5E-3868E90E10C7}" presName="Name0" presStyleCnt="0">
        <dgm:presLayoutVars>
          <dgm:chPref val="3"/>
          <dgm:dir/>
          <dgm:animLvl val="lvl"/>
          <dgm:resizeHandles/>
        </dgm:presLayoutVars>
      </dgm:prSet>
      <dgm:spPr/>
    </dgm:pt>
    <dgm:pt modelId="{0804466D-761C-45C5-9FBF-06D288D4DD5E}" type="pres">
      <dgm:prSet presAssocID="{ED5FA491-D0E3-4F35-AD58-343C153634A9}" presName="horFlow" presStyleCnt="0"/>
      <dgm:spPr/>
    </dgm:pt>
    <dgm:pt modelId="{D559A4F6-F4A5-4189-AFC9-98CE032E39D9}" type="pres">
      <dgm:prSet presAssocID="{ED5FA491-D0E3-4F35-AD58-343C153634A9}" presName="bigChev" presStyleLbl="node1" presStyleIdx="0" presStyleCnt="2" custScaleX="27217" custScaleY="42933" custLinFactNeighborX="-54944" custLinFactNeighborY="-17922"/>
      <dgm:spPr>
        <a:prstGeom prst="homePlate">
          <a:avLst/>
        </a:prstGeom>
      </dgm:spPr>
    </dgm:pt>
    <dgm:pt modelId="{DFBE9F10-2644-4A53-93BC-3587032DC803}" type="pres">
      <dgm:prSet presAssocID="{974C024B-B330-4834-980B-EE0867B2A8F7}" presName="parTrans" presStyleCnt="0"/>
      <dgm:spPr/>
    </dgm:pt>
    <dgm:pt modelId="{ACD141A2-0F72-4EC4-BB07-8777D6440644}" type="pres">
      <dgm:prSet presAssocID="{265A13ED-95DF-497C-A956-A581DFD3781C}" presName="node" presStyleLbl="alignAccFollowNode1" presStyleIdx="0" presStyleCnt="2" custScaleX="78848" custScaleY="82286" custLinFactNeighborX="61693" custLinFactNeighborY="-17150">
        <dgm:presLayoutVars>
          <dgm:bulletEnabled val="1"/>
        </dgm:presLayoutVars>
      </dgm:prSet>
      <dgm:spPr>
        <a:prstGeom prst="rect">
          <a:avLst/>
        </a:prstGeom>
      </dgm:spPr>
    </dgm:pt>
    <dgm:pt modelId="{08A26FF5-CEA6-41BC-8DE2-49853B0F3077}" type="pres">
      <dgm:prSet presAssocID="{ED5FA491-D0E3-4F35-AD58-343C153634A9}" presName="vSp" presStyleCnt="0"/>
      <dgm:spPr/>
    </dgm:pt>
    <dgm:pt modelId="{4253B309-DEB9-45E3-B2E4-25ADB5D6603F}" type="pres">
      <dgm:prSet presAssocID="{A6E76F04-B2CC-4D84-9FEF-7F4AE5029D8B}" presName="horFlow" presStyleCnt="0"/>
      <dgm:spPr/>
    </dgm:pt>
    <dgm:pt modelId="{29454C26-B0E7-4228-8420-B10FEB86CA3C}" type="pres">
      <dgm:prSet presAssocID="{A6E76F04-B2CC-4D84-9FEF-7F4AE5029D8B}" presName="bigChev" presStyleLbl="node1" presStyleIdx="1" presStyleCnt="2" custScaleX="25374" custScaleY="42883" custLinFactNeighborX="-48454" custLinFactNeighborY="-21929"/>
      <dgm:spPr>
        <a:prstGeom prst="homePlate">
          <a:avLst/>
        </a:prstGeom>
      </dgm:spPr>
    </dgm:pt>
    <dgm:pt modelId="{AE03C93E-CE78-4D67-8FFD-7784B2623E5B}" type="pres">
      <dgm:prSet presAssocID="{1F2482F1-5AFF-4E0E-9D56-424F2FF4D415}" presName="parTrans" presStyleCnt="0"/>
      <dgm:spPr/>
    </dgm:pt>
    <dgm:pt modelId="{D83BF629-AED7-41D4-B51E-1944D37A49FC}" type="pres">
      <dgm:prSet presAssocID="{104FDF8B-2427-4E1F-86AB-16B6CF680632}" presName="node" presStyleLbl="alignAccFollowNode1" presStyleIdx="1" presStyleCnt="2" custScaleX="79488" custScaleY="73160" custLinFactNeighborX="75451" custLinFactNeighborY="-28007">
        <dgm:presLayoutVars>
          <dgm:bulletEnabled val="1"/>
        </dgm:presLayoutVars>
      </dgm:prSet>
      <dgm:spPr>
        <a:prstGeom prst="rect">
          <a:avLst/>
        </a:prstGeom>
      </dgm:spPr>
    </dgm:pt>
  </dgm:ptLst>
  <dgm:cxnLst>
    <dgm:cxn modelId="{E8599F0E-DC71-4C23-85E6-873FD4623580}" srcId="{D6D4FF25-A436-4EC3-9E5E-3868E90E10C7}" destId="{A6E76F04-B2CC-4D84-9FEF-7F4AE5029D8B}" srcOrd="1" destOrd="0" parTransId="{1EE6C92E-64C6-477A-92B1-0ED63691E8A4}" sibTransId="{A5CAD199-B80F-41C2-A725-5226426E0E79}"/>
    <dgm:cxn modelId="{B1137543-D5EF-4F30-9543-31772C3FBD50}" type="presOf" srcId="{D6D4FF25-A436-4EC3-9E5E-3868E90E10C7}" destId="{2EB4F955-16D8-4CCA-803E-1C881B87F968}" srcOrd="0" destOrd="0" presId="urn:microsoft.com/office/officeart/2005/8/layout/lProcess3"/>
    <dgm:cxn modelId="{89356B64-A389-4A47-A6F8-D166652BCE53}" srcId="{ED5FA491-D0E3-4F35-AD58-343C153634A9}" destId="{265A13ED-95DF-497C-A956-A581DFD3781C}" srcOrd="0" destOrd="0" parTransId="{974C024B-B330-4834-980B-EE0867B2A8F7}" sibTransId="{D0065DDE-E5CC-4CF0-8A8A-E6EF2780EDA7}"/>
    <dgm:cxn modelId="{C76B16AC-E53B-4E58-8C6B-6217E5793543}" type="presOf" srcId="{A6E76F04-B2CC-4D84-9FEF-7F4AE5029D8B}" destId="{29454C26-B0E7-4228-8420-B10FEB86CA3C}" srcOrd="0" destOrd="0" presId="urn:microsoft.com/office/officeart/2005/8/layout/lProcess3"/>
    <dgm:cxn modelId="{649D62BA-794C-4E3F-9527-9AC044049B56}" type="presOf" srcId="{265A13ED-95DF-497C-A956-A581DFD3781C}" destId="{ACD141A2-0F72-4EC4-BB07-8777D6440644}" srcOrd="0" destOrd="0" presId="urn:microsoft.com/office/officeart/2005/8/layout/lProcess3"/>
    <dgm:cxn modelId="{74378FBF-B4BF-471B-9A27-68E1D51DB865}" type="presOf" srcId="{104FDF8B-2427-4E1F-86AB-16B6CF680632}" destId="{D83BF629-AED7-41D4-B51E-1944D37A49FC}" srcOrd="0" destOrd="0" presId="urn:microsoft.com/office/officeart/2005/8/layout/lProcess3"/>
    <dgm:cxn modelId="{689E52C9-4FA7-4D5B-9717-D8E8DBD51C74}" type="presOf" srcId="{ED5FA491-D0E3-4F35-AD58-343C153634A9}" destId="{D559A4F6-F4A5-4189-AFC9-98CE032E39D9}" srcOrd="0" destOrd="0" presId="urn:microsoft.com/office/officeart/2005/8/layout/lProcess3"/>
    <dgm:cxn modelId="{0FD343E4-8DBA-4D9A-AC41-DB08AA70741D}" srcId="{D6D4FF25-A436-4EC3-9E5E-3868E90E10C7}" destId="{ED5FA491-D0E3-4F35-AD58-343C153634A9}" srcOrd="0" destOrd="0" parTransId="{0E59C514-1030-4AA0-AF30-CBE40D1FC3ED}" sibTransId="{2644B259-8499-4B7E-8371-D685BF6797D8}"/>
    <dgm:cxn modelId="{7963A9F6-82DE-4576-A216-59FF2F5F0A13}" srcId="{A6E76F04-B2CC-4D84-9FEF-7F4AE5029D8B}" destId="{104FDF8B-2427-4E1F-86AB-16B6CF680632}" srcOrd="0" destOrd="0" parTransId="{1F2482F1-5AFF-4E0E-9D56-424F2FF4D415}" sibTransId="{D1A4A476-CA90-4915-9484-49A52EDC3A01}"/>
    <dgm:cxn modelId="{5EC8356F-75ED-4259-B6F0-F947EE076CEC}" type="presParOf" srcId="{2EB4F955-16D8-4CCA-803E-1C881B87F968}" destId="{0804466D-761C-45C5-9FBF-06D288D4DD5E}" srcOrd="0" destOrd="0" presId="urn:microsoft.com/office/officeart/2005/8/layout/lProcess3"/>
    <dgm:cxn modelId="{DAD708E6-EEBE-4B9A-B33C-5955758D2E73}" type="presParOf" srcId="{0804466D-761C-45C5-9FBF-06D288D4DD5E}" destId="{D559A4F6-F4A5-4189-AFC9-98CE032E39D9}" srcOrd="0" destOrd="0" presId="urn:microsoft.com/office/officeart/2005/8/layout/lProcess3"/>
    <dgm:cxn modelId="{BE70F6EC-3FCF-40D3-8DB5-990ED9FD4FF6}" type="presParOf" srcId="{0804466D-761C-45C5-9FBF-06D288D4DD5E}" destId="{DFBE9F10-2644-4A53-93BC-3587032DC803}" srcOrd="1" destOrd="0" presId="urn:microsoft.com/office/officeart/2005/8/layout/lProcess3"/>
    <dgm:cxn modelId="{BD7F61A3-0A18-457E-8FE3-41814E17DA7F}" type="presParOf" srcId="{0804466D-761C-45C5-9FBF-06D288D4DD5E}" destId="{ACD141A2-0F72-4EC4-BB07-8777D6440644}" srcOrd="2" destOrd="0" presId="urn:microsoft.com/office/officeart/2005/8/layout/lProcess3"/>
    <dgm:cxn modelId="{7DDCA7AB-E2AA-41A2-B07F-F129082C87AB}" type="presParOf" srcId="{2EB4F955-16D8-4CCA-803E-1C881B87F968}" destId="{08A26FF5-CEA6-41BC-8DE2-49853B0F3077}" srcOrd="1" destOrd="0" presId="urn:microsoft.com/office/officeart/2005/8/layout/lProcess3"/>
    <dgm:cxn modelId="{31DAA2EC-0D3D-4299-BAEF-8CE2836631D8}" type="presParOf" srcId="{2EB4F955-16D8-4CCA-803E-1C881B87F968}" destId="{4253B309-DEB9-45E3-B2E4-25ADB5D6603F}" srcOrd="2" destOrd="0" presId="urn:microsoft.com/office/officeart/2005/8/layout/lProcess3"/>
    <dgm:cxn modelId="{61E3AF0B-EE68-44E3-BC0E-95900AF453EC}" type="presParOf" srcId="{4253B309-DEB9-45E3-B2E4-25ADB5D6603F}" destId="{29454C26-B0E7-4228-8420-B10FEB86CA3C}" srcOrd="0" destOrd="0" presId="urn:microsoft.com/office/officeart/2005/8/layout/lProcess3"/>
    <dgm:cxn modelId="{BE976AF8-4ABC-419A-82A8-4DAA5DB68E5A}" type="presParOf" srcId="{4253B309-DEB9-45E3-B2E4-25ADB5D6603F}" destId="{AE03C93E-CE78-4D67-8FFD-7784B2623E5B}" srcOrd="1" destOrd="0" presId="urn:microsoft.com/office/officeart/2005/8/layout/lProcess3"/>
    <dgm:cxn modelId="{9C093EBF-AC17-4093-9552-BB58270C34D2}" type="presParOf" srcId="{4253B309-DEB9-45E3-B2E4-25ADB5D6603F}" destId="{D83BF629-AED7-41D4-B51E-1944D37A49FC}" srcOrd="2"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8DC56280-F105-4C1C-843B-5B3A4C1008B5}" type="doc">
      <dgm:prSet loTypeId="urn:microsoft.com/office/officeart/2005/8/layout/vList5" loCatId="list" qsTypeId="urn:microsoft.com/office/officeart/2005/8/quickstyle/simple4" qsCatId="simple" csTypeId="urn:microsoft.com/office/officeart/2005/8/colors/accent6_2" csCatId="accent6" phldr="1"/>
      <dgm:spPr/>
      <dgm:t>
        <a:bodyPr/>
        <a:lstStyle/>
        <a:p>
          <a:endParaRPr lang="en-GB"/>
        </a:p>
      </dgm:t>
    </dgm:pt>
    <dgm:pt modelId="{CFA50782-05F6-414F-A399-E5DD1ABE2442}">
      <dgm:prSet phldrT="[Text]" custT="1"/>
      <dgm:spPr>
        <a:solidFill>
          <a:schemeClr val="bg1"/>
        </a:solidFill>
        <a:ln w="19050">
          <a:solidFill>
            <a:schemeClr val="accent6"/>
          </a:solidFill>
        </a:ln>
      </dgm:spPr>
      <dgm:t>
        <a:bodyPr/>
        <a:lstStyle/>
        <a:p>
          <a:r>
            <a:rPr lang="el-GR" sz="2000" b="1" dirty="0">
              <a:solidFill>
                <a:schemeClr val="tx1"/>
              </a:solidFill>
            </a:rPr>
            <a:t>Ελεύθερη επιλογή ΠΙ</a:t>
          </a:r>
          <a:endParaRPr lang="en-GB" sz="2000" b="1" dirty="0">
            <a:solidFill>
              <a:schemeClr val="tx1"/>
            </a:solidFill>
          </a:endParaRPr>
        </a:p>
      </dgm:t>
    </dgm:pt>
    <dgm:pt modelId="{73671EF1-FAE9-48B4-B610-6100711A5E37}" type="parTrans" cxnId="{AE8E9EFA-DEE3-4767-9B75-C720056C827A}">
      <dgm:prSet/>
      <dgm:spPr/>
      <dgm:t>
        <a:bodyPr/>
        <a:lstStyle/>
        <a:p>
          <a:endParaRPr lang="en-GB"/>
        </a:p>
      </dgm:t>
    </dgm:pt>
    <dgm:pt modelId="{CB5964FE-3873-4942-84F4-8FA7F431F282}" type="sibTrans" cxnId="{AE8E9EFA-DEE3-4767-9B75-C720056C827A}">
      <dgm:prSet/>
      <dgm:spPr/>
      <dgm:t>
        <a:bodyPr/>
        <a:lstStyle/>
        <a:p>
          <a:endParaRPr lang="en-GB"/>
        </a:p>
      </dgm:t>
    </dgm:pt>
    <dgm:pt modelId="{FB7C87D9-3D5B-43E2-A55B-4D8CCCE66C82}">
      <dgm:prSet phldrT="[Text]" custT="1"/>
      <dgm:spPr/>
      <dgm:t>
        <a:bodyPr/>
        <a:lstStyle/>
        <a:p>
          <a:r>
            <a:rPr lang="el-GR" sz="1800" dirty="0"/>
            <a:t>Όλοι οι δικαιούχοι  είναι ελεύθεροι να επιλέξουν τον ΠΙ τους και να εγγραφούν στον κατάλογό του</a:t>
          </a:r>
          <a:endParaRPr lang="en-GB" sz="1800" b="0" dirty="0"/>
        </a:p>
      </dgm:t>
    </dgm:pt>
    <dgm:pt modelId="{8C287F3C-10FC-4545-912A-27FED28A1203}" type="parTrans" cxnId="{631CD922-F883-4A4D-BD3E-9C43F7851B45}">
      <dgm:prSet/>
      <dgm:spPr/>
      <dgm:t>
        <a:bodyPr/>
        <a:lstStyle/>
        <a:p>
          <a:endParaRPr lang="en-GB"/>
        </a:p>
      </dgm:t>
    </dgm:pt>
    <dgm:pt modelId="{70C11E28-3101-4F6B-90A2-9B0B67D28C0E}" type="sibTrans" cxnId="{631CD922-F883-4A4D-BD3E-9C43F7851B45}">
      <dgm:prSet/>
      <dgm:spPr/>
      <dgm:t>
        <a:bodyPr/>
        <a:lstStyle/>
        <a:p>
          <a:endParaRPr lang="en-GB"/>
        </a:p>
      </dgm:t>
    </dgm:pt>
    <dgm:pt modelId="{7923042F-CB0F-4AB9-9BCE-1D0A54FC0D52}">
      <dgm:prSet phldrT="[Text]" custT="1"/>
      <dgm:spPr>
        <a:solidFill>
          <a:schemeClr val="bg1"/>
        </a:solidFill>
        <a:ln w="19050">
          <a:solidFill>
            <a:schemeClr val="accent6"/>
          </a:solidFill>
        </a:ln>
      </dgm:spPr>
      <dgm:t>
        <a:bodyPr/>
        <a:lstStyle/>
        <a:p>
          <a:r>
            <a:rPr lang="el-GR" sz="2000" b="1" dirty="0">
              <a:solidFill>
                <a:schemeClr val="tx1"/>
              </a:solidFill>
            </a:rPr>
            <a:t>Αλλαγή ΠΙ</a:t>
          </a:r>
          <a:endParaRPr lang="en-GB" sz="2000" b="1" dirty="0">
            <a:solidFill>
              <a:schemeClr val="tx1"/>
            </a:solidFill>
          </a:endParaRPr>
        </a:p>
      </dgm:t>
    </dgm:pt>
    <dgm:pt modelId="{E105F69F-DC05-45A1-B6EB-ACE9B2863967}" type="parTrans" cxnId="{F8025C0B-C5BF-43D4-8924-ED6BA99FAE7B}">
      <dgm:prSet/>
      <dgm:spPr/>
      <dgm:t>
        <a:bodyPr/>
        <a:lstStyle/>
        <a:p>
          <a:endParaRPr lang="en-GB"/>
        </a:p>
      </dgm:t>
    </dgm:pt>
    <dgm:pt modelId="{7433260B-B31E-45FD-9DB8-D8E5C4D35792}" type="sibTrans" cxnId="{F8025C0B-C5BF-43D4-8924-ED6BA99FAE7B}">
      <dgm:prSet/>
      <dgm:spPr/>
      <dgm:t>
        <a:bodyPr/>
        <a:lstStyle/>
        <a:p>
          <a:endParaRPr lang="en-GB"/>
        </a:p>
      </dgm:t>
    </dgm:pt>
    <dgm:pt modelId="{704C9D52-5AE7-4F9F-B83D-5A0AC328F810}">
      <dgm:prSet phldrT="[Text]" custT="1"/>
      <dgm:spPr/>
      <dgm:t>
        <a:bodyPr/>
        <a:lstStyle/>
        <a:p>
          <a:r>
            <a:rPr lang="el-GR" sz="1800" dirty="0"/>
            <a:t>Οι δικαιούχοι μπορούν να αλλάζουν τον ΠΙ τους μετά την παρέλευση 6 μηνών από την προηγούμενη εγγραφή τους σε ΠΙ</a:t>
          </a:r>
          <a:endParaRPr lang="en-GB" sz="1800" dirty="0"/>
        </a:p>
      </dgm:t>
    </dgm:pt>
    <dgm:pt modelId="{EB7822EB-4512-4855-9CC7-0DBC1332F875}" type="parTrans" cxnId="{AF74C62B-67CE-447D-826C-C594EAE2E1DB}">
      <dgm:prSet/>
      <dgm:spPr/>
      <dgm:t>
        <a:bodyPr/>
        <a:lstStyle/>
        <a:p>
          <a:endParaRPr lang="en-GB"/>
        </a:p>
      </dgm:t>
    </dgm:pt>
    <dgm:pt modelId="{E97F13F1-DFAB-4E5D-9167-229366057BAB}" type="sibTrans" cxnId="{AF74C62B-67CE-447D-826C-C594EAE2E1DB}">
      <dgm:prSet/>
      <dgm:spPr/>
      <dgm:t>
        <a:bodyPr/>
        <a:lstStyle/>
        <a:p>
          <a:endParaRPr lang="en-GB"/>
        </a:p>
      </dgm:t>
    </dgm:pt>
    <dgm:pt modelId="{28E70461-0642-484E-B0EB-FA367BDEB0A3}">
      <dgm:prSet phldrT="[Text]" custT="1"/>
      <dgm:spPr>
        <a:solidFill>
          <a:schemeClr val="bg1"/>
        </a:solidFill>
        <a:ln w="19050">
          <a:solidFill>
            <a:schemeClr val="accent6"/>
          </a:solidFill>
        </a:ln>
      </dgm:spPr>
      <dgm:t>
        <a:bodyPr/>
        <a:lstStyle/>
        <a:p>
          <a:r>
            <a:rPr lang="el-GR" sz="2000" b="1" dirty="0">
              <a:solidFill>
                <a:schemeClr val="tx1"/>
              </a:solidFill>
            </a:rPr>
            <a:t>Μέγιστος αριθμός δικαιούχων ανά ΠΙ</a:t>
          </a:r>
          <a:endParaRPr lang="en-GB" sz="2000" b="1" dirty="0">
            <a:solidFill>
              <a:schemeClr val="tx1"/>
            </a:solidFill>
          </a:endParaRPr>
        </a:p>
      </dgm:t>
    </dgm:pt>
    <dgm:pt modelId="{5498DEDC-1157-467E-A1AA-AD5F77CA6AC6}" type="parTrans" cxnId="{ADD56613-0AED-474B-A25C-AD15F7C2C12E}">
      <dgm:prSet/>
      <dgm:spPr/>
      <dgm:t>
        <a:bodyPr/>
        <a:lstStyle/>
        <a:p>
          <a:endParaRPr lang="en-GB"/>
        </a:p>
      </dgm:t>
    </dgm:pt>
    <dgm:pt modelId="{E4A042B9-97AD-4217-9EB3-FCA7C8EB507A}" type="sibTrans" cxnId="{ADD56613-0AED-474B-A25C-AD15F7C2C12E}">
      <dgm:prSet/>
      <dgm:spPr/>
      <dgm:t>
        <a:bodyPr/>
        <a:lstStyle/>
        <a:p>
          <a:endParaRPr lang="en-GB"/>
        </a:p>
      </dgm:t>
    </dgm:pt>
    <dgm:pt modelId="{1506EECB-FC31-4A8B-94EC-3B4308227A89}">
      <dgm:prSet phldrT="[Text]" custT="1"/>
      <dgm:spPr/>
      <dgm:t>
        <a:bodyPr/>
        <a:lstStyle/>
        <a:p>
          <a:r>
            <a:rPr lang="el-GR" sz="1800" dirty="0"/>
            <a:t>Οι ΠΙ θα μπορούν να έχουν εγγεγραμμένους μέχρι 2500 δικαιούχους στον κατάλογό τους </a:t>
          </a:r>
          <a:endParaRPr lang="en-GB" sz="1800" dirty="0"/>
        </a:p>
      </dgm:t>
    </dgm:pt>
    <dgm:pt modelId="{7C766688-F95F-4F01-8E68-010F600912F7}" type="parTrans" cxnId="{57A8B274-1735-4EF0-817B-C8C4F631EA7E}">
      <dgm:prSet/>
      <dgm:spPr/>
      <dgm:t>
        <a:bodyPr/>
        <a:lstStyle/>
        <a:p>
          <a:endParaRPr lang="en-GB"/>
        </a:p>
      </dgm:t>
    </dgm:pt>
    <dgm:pt modelId="{81207DDF-7826-4C2D-AD6D-5F27332A1852}" type="sibTrans" cxnId="{57A8B274-1735-4EF0-817B-C8C4F631EA7E}">
      <dgm:prSet/>
      <dgm:spPr/>
      <dgm:t>
        <a:bodyPr/>
        <a:lstStyle/>
        <a:p>
          <a:endParaRPr lang="en-GB"/>
        </a:p>
      </dgm:t>
    </dgm:pt>
    <dgm:pt modelId="{3CECFB6F-38A6-4A47-8EF0-F87A0CB37116}" type="pres">
      <dgm:prSet presAssocID="{8DC56280-F105-4C1C-843B-5B3A4C1008B5}" presName="Name0" presStyleCnt="0">
        <dgm:presLayoutVars>
          <dgm:dir/>
          <dgm:animLvl val="lvl"/>
          <dgm:resizeHandles val="exact"/>
        </dgm:presLayoutVars>
      </dgm:prSet>
      <dgm:spPr/>
    </dgm:pt>
    <dgm:pt modelId="{28498538-ED3B-48A9-843A-F2D4DB491354}" type="pres">
      <dgm:prSet presAssocID="{CFA50782-05F6-414F-A399-E5DD1ABE2442}" presName="linNode" presStyleCnt="0"/>
      <dgm:spPr/>
    </dgm:pt>
    <dgm:pt modelId="{DF8D6AEA-F821-4F6B-8D41-3376DDF84BEA}" type="pres">
      <dgm:prSet presAssocID="{CFA50782-05F6-414F-A399-E5DD1ABE2442}" presName="parentText" presStyleLbl="node1" presStyleIdx="0" presStyleCnt="3">
        <dgm:presLayoutVars>
          <dgm:chMax val="1"/>
          <dgm:bulletEnabled val="1"/>
        </dgm:presLayoutVars>
      </dgm:prSet>
      <dgm:spPr/>
    </dgm:pt>
    <dgm:pt modelId="{E283B766-4091-4536-97DF-135120C6BDA9}" type="pres">
      <dgm:prSet presAssocID="{CFA50782-05F6-414F-A399-E5DD1ABE2442}" presName="descendantText" presStyleLbl="alignAccFollowNode1" presStyleIdx="0" presStyleCnt="3">
        <dgm:presLayoutVars>
          <dgm:bulletEnabled val="1"/>
        </dgm:presLayoutVars>
      </dgm:prSet>
      <dgm:spPr/>
    </dgm:pt>
    <dgm:pt modelId="{050100A3-30D4-428C-8146-67220475F47B}" type="pres">
      <dgm:prSet presAssocID="{CB5964FE-3873-4942-84F4-8FA7F431F282}" presName="sp" presStyleCnt="0"/>
      <dgm:spPr/>
    </dgm:pt>
    <dgm:pt modelId="{8C8FDAF0-B3AE-47C5-AE53-633EA3B5B3FD}" type="pres">
      <dgm:prSet presAssocID="{7923042F-CB0F-4AB9-9BCE-1D0A54FC0D52}" presName="linNode" presStyleCnt="0"/>
      <dgm:spPr/>
    </dgm:pt>
    <dgm:pt modelId="{4F5A9B82-5578-4B20-8DDB-BD7E9BF7768E}" type="pres">
      <dgm:prSet presAssocID="{7923042F-CB0F-4AB9-9BCE-1D0A54FC0D52}" presName="parentText" presStyleLbl="node1" presStyleIdx="1" presStyleCnt="3">
        <dgm:presLayoutVars>
          <dgm:chMax val="1"/>
          <dgm:bulletEnabled val="1"/>
        </dgm:presLayoutVars>
      </dgm:prSet>
      <dgm:spPr/>
    </dgm:pt>
    <dgm:pt modelId="{B52EA9FF-D12C-451F-B441-CFF03467AAEB}" type="pres">
      <dgm:prSet presAssocID="{7923042F-CB0F-4AB9-9BCE-1D0A54FC0D52}" presName="descendantText" presStyleLbl="alignAccFollowNode1" presStyleIdx="1" presStyleCnt="3">
        <dgm:presLayoutVars>
          <dgm:bulletEnabled val="1"/>
        </dgm:presLayoutVars>
      </dgm:prSet>
      <dgm:spPr/>
    </dgm:pt>
    <dgm:pt modelId="{CDC9645D-DA60-45D3-BB14-4B5445DA1BB9}" type="pres">
      <dgm:prSet presAssocID="{7433260B-B31E-45FD-9DB8-D8E5C4D35792}" presName="sp" presStyleCnt="0"/>
      <dgm:spPr/>
    </dgm:pt>
    <dgm:pt modelId="{37D92F99-CE37-42CB-B353-B2937180B1A8}" type="pres">
      <dgm:prSet presAssocID="{28E70461-0642-484E-B0EB-FA367BDEB0A3}" presName="linNode" presStyleCnt="0"/>
      <dgm:spPr/>
    </dgm:pt>
    <dgm:pt modelId="{E81FCBE1-AA98-4C5D-AB45-ECEE9291A991}" type="pres">
      <dgm:prSet presAssocID="{28E70461-0642-484E-B0EB-FA367BDEB0A3}" presName="parentText" presStyleLbl="node1" presStyleIdx="2" presStyleCnt="3">
        <dgm:presLayoutVars>
          <dgm:chMax val="1"/>
          <dgm:bulletEnabled val="1"/>
        </dgm:presLayoutVars>
      </dgm:prSet>
      <dgm:spPr/>
    </dgm:pt>
    <dgm:pt modelId="{B8836E61-D180-47E1-AAA2-5F727912FAD1}" type="pres">
      <dgm:prSet presAssocID="{28E70461-0642-484E-B0EB-FA367BDEB0A3}" presName="descendantText" presStyleLbl="alignAccFollowNode1" presStyleIdx="2" presStyleCnt="3">
        <dgm:presLayoutVars>
          <dgm:bulletEnabled val="1"/>
        </dgm:presLayoutVars>
      </dgm:prSet>
      <dgm:spPr/>
    </dgm:pt>
  </dgm:ptLst>
  <dgm:cxnLst>
    <dgm:cxn modelId="{7B488103-30E5-4EF1-A87D-F4AF3BB97B15}" type="presOf" srcId="{7923042F-CB0F-4AB9-9BCE-1D0A54FC0D52}" destId="{4F5A9B82-5578-4B20-8DDB-BD7E9BF7768E}" srcOrd="0" destOrd="0" presId="urn:microsoft.com/office/officeart/2005/8/layout/vList5"/>
    <dgm:cxn modelId="{F8025C0B-C5BF-43D4-8924-ED6BA99FAE7B}" srcId="{8DC56280-F105-4C1C-843B-5B3A4C1008B5}" destId="{7923042F-CB0F-4AB9-9BCE-1D0A54FC0D52}" srcOrd="1" destOrd="0" parTransId="{E105F69F-DC05-45A1-B6EB-ACE9B2863967}" sibTransId="{7433260B-B31E-45FD-9DB8-D8E5C4D35792}"/>
    <dgm:cxn modelId="{ADD56613-0AED-474B-A25C-AD15F7C2C12E}" srcId="{8DC56280-F105-4C1C-843B-5B3A4C1008B5}" destId="{28E70461-0642-484E-B0EB-FA367BDEB0A3}" srcOrd="2" destOrd="0" parTransId="{5498DEDC-1157-467E-A1AA-AD5F77CA6AC6}" sibTransId="{E4A042B9-97AD-4217-9EB3-FCA7C8EB507A}"/>
    <dgm:cxn modelId="{631CD922-F883-4A4D-BD3E-9C43F7851B45}" srcId="{CFA50782-05F6-414F-A399-E5DD1ABE2442}" destId="{FB7C87D9-3D5B-43E2-A55B-4D8CCCE66C82}" srcOrd="0" destOrd="0" parTransId="{8C287F3C-10FC-4545-912A-27FED28A1203}" sibTransId="{70C11E28-3101-4F6B-90A2-9B0B67D28C0E}"/>
    <dgm:cxn modelId="{84C2D62A-C517-4198-B280-9BBCB836807D}" type="presOf" srcId="{FB7C87D9-3D5B-43E2-A55B-4D8CCCE66C82}" destId="{E283B766-4091-4536-97DF-135120C6BDA9}" srcOrd="0" destOrd="0" presId="urn:microsoft.com/office/officeart/2005/8/layout/vList5"/>
    <dgm:cxn modelId="{AF74C62B-67CE-447D-826C-C594EAE2E1DB}" srcId="{7923042F-CB0F-4AB9-9BCE-1D0A54FC0D52}" destId="{704C9D52-5AE7-4F9F-B83D-5A0AC328F810}" srcOrd="0" destOrd="0" parTransId="{EB7822EB-4512-4855-9CC7-0DBC1332F875}" sibTransId="{E97F13F1-DFAB-4E5D-9167-229366057BAB}"/>
    <dgm:cxn modelId="{52894F36-66C8-4F1B-B9EB-8BB025D368CD}" type="presOf" srcId="{704C9D52-5AE7-4F9F-B83D-5A0AC328F810}" destId="{B52EA9FF-D12C-451F-B441-CFF03467AAEB}" srcOrd="0" destOrd="0" presId="urn:microsoft.com/office/officeart/2005/8/layout/vList5"/>
    <dgm:cxn modelId="{57A8B274-1735-4EF0-817B-C8C4F631EA7E}" srcId="{28E70461-0642-484E-B0EB-FA367BDEB0A3}" destId="{1506EECB-FC31-4A8B-94EC-3B4308227A89}" srcOrd="0" destOrd="0" parTransId="{7C766688-F95F-4F01-8E68-010F600912F7}" sibTransId="{81207DDF-7826-4C2D-AD6D-5F27332A1852}"/>
    <dgm:cxn modelId="{3907CB87-FDBE-40E5-974A-6DE457AEF408}" type="presOf" srcId="{28E70461-0642-484E-B0EB-FA367BDEB0A3}" destId="{E81FCBE1-AA98-4C5D-AB45-ECEE9291A991}" srcOrd="0" destOrd="0" presId="urn:microsoft.com/office/officeart/2005/8/layout/vList5"/>
    <dgm:cxn modelId="{6BAF4BBA-C31E-48E7-A1B5-1FB43E966BB4}" type="presOf" srcId="{1506EECB-FC31-4A8B-94EC-3B4308227A89}" destId="{B8836E61-D180-47E1-AAA2-5F727912FAD1}" srcOrd="0" destOrd="0" presId="urn:microsoft.com/office/officeart/2005/8/layout/vList5"/>
    <dgm:cxn modelId="{93358AF7-D3C6-45FA-977C-E1180B04A5C9}" type="presOf" srcId="{8DC56280-F105-4C1C-843B-5B3A4C1008B5}" destId="{3CECFB6F-38A6-4A47-8EF0-F87A0CB37116}" srcOrd="0" destOrd="0" presId="urn:microsoft.com/office/officeart/2005/8/layout/vList5"/>
    <dgm:cxn modelId="{AE8E9EFA-DEE3-4767-9B75-C720056C827A}" srcId="{8DC56280-F105-4C1C-843B-5B3A4C1008B5}" destId="{CFA50782-05F6-414F-A399-E5DD1ABE2442}" srcOrd="0" destOrd="0" parTransId="{73671EF1-FAE9-48B4-B610-6100711A5E37}" sibTransId="{CB5964FE-3873-4942-84F4-8FA7F431F282}"/>
    <dgm:cxn modelId="{33791BFC-D3D1-47C4-A574-6F426DD70FA4}" type="presOf" srcId="{CFA50782-05F6-414F-A399-E5DD1ABE2442}" destId="{DF8D6AEA-F821-4F6B-8D41-3376DDF84BEA}" srcOrd="0" destOrd="0" presId="urn:microsoft.com/office/officeart/2005/8/layout/vList5"/>
    <dgm:cxn modelId="{3B6C0B13-5B42-4C16-92C2-9A03E15DEB40}" type="presParOf" srcId="{3CECFB6F-38A6-4A47-8EF0-F87A0CB37116}" destId="{28498538-ED3B-48A9-843A-F2D4DB491354}" srcOrd="0" destOrd="0" presId="urn:microsoft.com/office/officeart/2005/8/layout/vList5"/>
    <dgm:cxn modelId="{00AB1730-2632-4DD1-BE31-5D6C5196D504}" type="presParOf" srcId="{28498538-ED3B-48A9-843A-F2D4DB491354}" destId="{DF8D6AEA-F821-4F6B-8D41-3376DDF84BEA}" srcOrd="0" destOrd="0" presId="urn:microsoft.com/office/officeart/2005/8/layout/vList5"/>
    <dgm:cxn modelId="{6095D0F1-EEE5-4B1D-A9F7-585E2914F261}" type="presParOf" srcId="{28498538-ED3B-48A9-843A-F2D4DB491354}" destId="{E283B766-4091-4536-97DF-135120C6BDA9}" srcOrd="1" destOrd="0" presId="urn:microsoft.com/office/officeart/2005/8/layout/vList5"/>
    <dgm:cxn modelId="{D0563998-10E0-459E-97A5-175A01079D75}" type="presParOf" srcId="{3CECFB6F-38A6-4A47-8EF0-F87A0CB37116}" destId="{050100A3-30D4-428C-8146-67220475F47B}" srcOrd="1" destOrd="0" presId="urn:microsoft.com/office/officeart/2005/8/layout/vList5"/>
    <dgm:cxn modelId="{E1513D49-FCA4-4056-B5E9-4BAF50900578}" type="presParOf" srcId="{3CECFB6F-38A6-4A47-8EF0-F87A0CB37116}" destId="{8C8FDAF0-B3AE-47C5-AE53-633EA3B5B3FD}" srcOrd="2" destOrd="0" presId="urn:microsoft.com/office/officeart/2005/8/layout/vList5"/>
    <dgm:cxn modelId="{35EB60CF-467E-4500-894C-8A3630FFEB29}" type="presParOf" srcId="{8C8FDAF0-B3AE-47C5-AE53-633EA3B5B3FD}" destId="{4F5A9B82-5578-4B20-8DDB-BD7E9BF7768E}" srcOrd="0" destOrd="0" presId="urn:microsoft.com/office/officeart/2005/8/layout/vList5"/>
    <dgm:cxn modelId="{C7214513-B098-4FEB-AD31-F1266DC8E1FC}" type="presParOf" srcId="{8C8FDAF0-B3AE-47C5-AE53-633EA3B5B3FD}" destId="{B52EA9FF-D12C-451F-B441-CFF03467AAEB}" srcOrd="1" destOrd="0" presId="urn:microsoft.com/office/officeart/2005/8/layout/vList5"/>
    <dgm:cxn modelId="{D83AE2AE-2D91-4899-BEDD-4173FCB16D5C}" type="presParOf" srcId="{3CECFB6F-38A6-4A47-8EF0-F87A0CB37116}" destId="{CDC9645D-DA60-45D3-BB14-4B5445DA1BB9}" srcOrd="3" destOrd="0" presId="urn:microsoft.com/office/officeart/2005/8/layout/vList5"/>
    <dgm:cxn modelId="{A9CF66EE-37E8-4D19-BE11-F25E9C79BD0A}" type="presParOf" srcId="{3CECFB6F-38A6-4A47-8EF0-F87A0CB37116}" destId="{37D92F99-CE37-42CB-B353-B2937180B1A8}" srcOrd="4" destOrd="0" presId="urn:microsoft.com/office/officeart/2005/8/layout/vList5"/>
    <dgm:cxn modelId="{F5F2EB68-A0E8-4E27-8A6B-197C6AA87917}" type="presParOf" srcId="{37D92F99-CE37-42CB-B353-B2937180B1A8}" destId="{E81FCBE1-AA98-4C5D-AB45-ECEE9291A991}" srcOrd="0" destOrd="0" presId="urn:microsoft.com/office/officeart/2005/8/layout/vList5"/>
    <dgm:cxn modelId="{A80ABFD8-2C3C-42AF-8FF0-83E22A8ACCDF}" type="presParOf" srcId="{37D92F99-CE37-42CB-B353-B2937180B1A8}" destId="{B8836E61-D180-47E1-AAA2-5F727912FAD1}"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6D4FF25-A436-4EC3-9E5E-3868E90E10C7}" type="doc">
      <dgm:prSet loTypeId="urn:microsoft.com/office/officeart/2005/8/layout/lProcess3" loCatId="process" qsTypeId="urn:microsoft.com/office/officeart/2005/8/quickstyle/simple1" qsCatId="simple" csTypeId="urn:microsoft.com/office/officeart/2005/8/colors/accent2_1" csCatId="accent2" phldr="1"/>
      <dgm:spPr/>
      <dgm:t>
        <a:bodyPr/>
        <a:lstStyle/>
        <a:p>
          <a:endParaRPr lang="en-GB"/>
        </a:p>
      </dgm:t>
    </dgm:pt>
    <dgm:pt modelId="{ED5FA491-D0E3-4F35-AD58-343C153634A9}">
      <dgm:prSet phldrT="[Text]" custT="1"/>
      <dgm:spPr/>
      <dgm:t>
        <a:bodyPr/>
        <a:lstStyle/>
        <a:p>
          <a:r>
            <a:rPr lang="el-GR" sz="1400" b="1" dirty="0"/>
            <a:t>ΣΤΟΧΟΙ ΕΦΑΡΜΟΓΗΣ ΤΗΣ ΠΡΑΚΤΙΚΗΣ ΤΩΝ ΣΥΜΠΛΗΡΩΜΩΝ</a:t>
          </a:r>
          <a:endParaRPr lang="en-GB" sz="1400" b="1" dirty="0"/>
        </a:p>
      </dgm:t>
    </dgm:pt>
    <dgm:pt modelId="{0E59C514-1030-4AA0-AF30-CBE40D1FC3ED}" type="parTrans" cxnId="{0FD343E4-8DBA-4D9A-AC41-DB08AA70741D}">
      <dgm:prSet/>
      <dgm:spPr/>
      <dgm:t>
        <a:bodyPr/>
        <a:lstStyle/>
        <a:p>
          <a:endParaRPr lang="en-GB"/>
        </a:p>
      </dgm:t>
    </dgm:pt>
    <dgm:pt modelId="{2644B259-8499-4B7E-8371-D685BF6797D8}" type="sibTrans" cxnId="{0FD343E4-8DBA-4D9A-AC41-DB08AA70741D}">
      <dgm:prSet/>
      <dgm:spPr/>
      <dgm:t>
        <a:bodyPr/>
        <a:lstStyle/>
        <a:p>
          <a:endParaRPr lang="en-GB"/>
        </a:p>
      </dgm:t>
    </dgm:pt>
    <dgm:pt modelId="{265A13ED-95DF-497C-A956-A581DFD3781C}">
      <dgm:prSet phldrT="[Text]" custT="1"/>
      <dgm:spPr>
        <a:solidFill>
          <a:schemeClr val="bg1">
            <a:alpha val="90000"/>
          </a:schemeClr>
        </a:solidFill>
      </dgm:spPr>
      <dgm:t>
        <a:bodyPr/>
        <a:lstStyle/>
        <a:p>
          <a:pPr algn="l"/>
          <a:endParaRPr lang="en-GB" sz="1400" dirty="0"/>
        </a:p>
      </dgm:t>
    </dgm:pt>
    <dgm:pt modelId="{974C024B-B330-4834-980B-EE0867B2A8F7}" type="parTrans" cxnId="{89356B64-A389-4A47-A6F8-D166652BCE53}">
      <dgm:prSet/>
      <dgm:spPr/>
      <dgm:t>
        <a:bodyPr/>
        <a:lstStyle/>
        <a:p>
          <a:endParaRPr lang="en-GB"/>
        </a:p>
      </dgm:t>
    </dgm:pt>
    <dgm:pt modelId="{D0065DDE-E5CC-4CF0-8A8A-E6EF2780EDA7}" type="sibTrans" cxnId="{89356B64-A389-4A47-A6F8-D166652BCE53}">
      <dgm:prSet/>
      <dgm:spPr/>
      <dgm:t>
        <a:bodyPr/>
        <a:lstStyle/>
        <a:p>
          <a:endParaRPr lang="en-GB"/>
        </a:p>
      </dgm:t>
    </dgm:pt>
    <dgm:pt modelId="{A6E76F04-B2CC-4D84-9FEF-7F4AE5029D8B}">
      <dgm:prSet phldrT="[Text]" custT="1"/>
      <dgm:spPr/>
      <dgm:t>
        <a:bodyPr/>
        <a:lstStyle/>
        <a:p>
          <a:r>
            <a:rPr lang="el-GR" sz="1400" b="1" dirty="0">
              <a:solidFill>
                <a:schemeClr val="tx1"/>
              </a:solidFill>
            </a:rPr>
            <a:t>ΔΙΑΣΦΑΛΙΣΗ ΣΤΗΝ ΠΡΟΣΒΑΣΗ</a:t>
          </a:r>
          <a:endParaRPr lang="en-GB" sz="1400" b="1" dirty="0">
            <a:solidFill>
              <a:schemeClr val="tx1"/>
            </a:solidFill>
          </a:endParaRPr>
        </a:p>
      </dgm:t>
    </dgm:pt>
    <dgm:pt modelId="{1EE6C92E-64C6-477A-92B1-0ED63691E8A4}" type="parTrans" cxnId="{E8599F0E-DC71-4C23-85E6-873FD4623580}">
      <dgm:prSet/>
      <dgm:spPr/>
      <dgm:t>
        <a:bodyPr/>
        <a:lstStyle/>
        <a:p>
          <a:endParaRPr lang="en-GB"/>
        </a:p>
      </dgm:t>
    </dgm:pt>
    <dgm:pt modelId="{A5CAD199-B80F-41C2-A725-5226426E0E79}" type="sibTrans" cxnId="{E8599F0E-DC71-4C23-85E6-873FD4623580}">
      <dgm:prSet/>
      <dgm:spPr/>
      <dgm:t>
        <a:bodyPr/>
        <a:lstStyle/>
        <a:p>
          <a:endParaRPr lang="en-GB"/>
        </a:p>
      </dgm:t>
    </dgm:pt>
    <dgm:pt modelId="{104FDF8B-2427-4E1F-86AB-16B6CF680632}">
      <dgm:prSet phldrT="[Text]" custT="1"/>
      <dgm:spPr>
        <a:solidFill>
          <a:schemeClr val="bg1">
            <a:alpha val="90000"/>
          </a:schemeClr>
        </a:solidFill>
      </dgm:spPr>
      <dgm:t>
        <a:bodyPr/>
        <a:lstStyle/>
        <a:p>
          <a:pPr algn="l"/>
          <a:endParaRPr lang="en-GB" sz="1000" b="0" dirty="0"/>
        </a:p>
      </dgm:t>
    </dgm:pt>
    <dgm:pt modelId="{D1A4A476-CA90-4915-9484-49A52EDC3A01}" type="sibTrans" cxnId="{7963A9F6-82DE-4576-A216-59FF2F5F0A13}">
      <dgm:prSet/>
      <dgm:spPr/>
      <dgm:t>
        <a:bodyPr/>
        <a:lstStyle/>
        <a:p>
          <a:endParaRPr lang="en-GB"/>
        </a:p>
      </dgm:t>
    </dgm:pt>
    <dgm:pt modelId="{1F2482F1-5AFF-4E0E-9D56-424F2FF4D415}" type="parTrans" cxnId="{7963A9F6-82DE-4576-A216-59FF2F5F0A13}">
      <dgm:prSet/>
      <dgm:spPr/>
      <dgm:t>
        <a:bodyPr/>
        <a:lstStyle/>
        <a:p>
          <a:endParaRPr lang="en-GB"/>
        </a:p>
      </dgm:t>
    </dgm:pt>
    <dgm:pt modelId="{2EB4F955-16D8-4CCA-803E-1C881B87F968}" type="pres">
      <dgm:prSet presAssocID="{D6D4FF25-A436-4EC3-9E5E-3868E90E10C7}" presName="Name0" presStyleCnt="0">
        <dgm:presLayoutVars>
          <dgm:chPref val="3"/>
          <dgm:dir/>
          <dgm:animLvl val="lvl"/>
          <dgm:resizeHandles/>
        </dgm:presLayoutVars>
      </dgm:prSet>
      <dgm:spPr/>
    </dgm:pt>
    <dgm:pt modelId="{0804466D-761C-45C5-9FBF-06D288D4DD5E}" type="pres">
      <dgm:prSet presAssocID="{ED5FA491-D0E3-4F35-AD58-343C153634A9}" presName="horFlow" presStyleCnt="0"/>
      <dgm:spPr/>
    </dgm:pt>
    <dgm:pt modelId="{D559A4F6-F4A5-4189-AFC9-98CE032E39D9}" type="pres">
      <dgm:prSet presAssocID="{ED5FA491-D0E3-4F35-AD58-343C153634A9}" presName="bigChev" presStyleLbl="node1" presStyleIdx="0" presStyleCnt="2" custScaleX="50247" custScaleY="79374" custLinFactNeighborX="-12311" custLinFactNeighborY="-3394"/>
      <dgm:spPr>
        <a:prstGeom prst="homePlate">
          <a:avLst/>
        </a:prstGeom>
      </dgm:spPr>
    </dgm:pt>
    <dgm:pt modelId="{DFBE9F10-2644-4A53-93BC-3587032DC803}" type="pres">
      <dgm:prSet presAssocID="{974C024B-B330-4834-980B-EE0867B2A8F7}" presName="parTrans" presStyleCnt="0"/>
      <dgm:spPr/>
    </dgm:pt>
    <dgm:pt modelId="{ACD141A2-0F72-4EC4-BB07-8777D6440644}" type="pres">
      <dgm:prSet presAssocID="{265A13ED-95DF-497C-A956-A581DFD3781C}" presName="node" presStyleLbl="alignAccFollowNode1" presStyleIdx="0" presStyleCnt="2" custScaleX="106056" custScaleY="72236" custLinFactX="3184" custLinFactNeighborX="100000" custLinFactNeighborY="1315">
        <dgm:presLayoutVars>
          <dgm:bulletEnabled val="1"/>
        </dgm:presLayoutVars>
      </dgm:prSet>
      <dgm:spPr>
        <a:prstGeom prst="rect">
          <a:avLst/>
        </a:prstGeom>
      </dgm:spPr>
    </dgm:pt>
    <dgm:pt modelId="{08A26FF5-CEA6-41BC-8DE2-49853B0F3077}" type="pres">
      <dgm:prSet presAssocID="{ED5FA491-D0E3-4F35-AD58-343C153634A9}" presName="vSp" presStyleCnt="0"/>
      <dgm:spPr/>
    </dgm:pt>
    <dgm:pt modelId="{4253B309-DEB9-45E3-B2E4-25ADB5D6603F}" type="pres">
      <dgm:prSet presAssocID="{A6E76F04-B2CC-4D84-9FEF-7F4AE5029D8B}" presName="horFlow" presStyleCnt="0"/>
      <dgm:spPr/>
    </dgm:pt>
    <dgm:pt modelId="{29454C26-B0E7-4228-8420-B10FEB86CA3C}" type="pres">
      <dgm:prSet presAssocID="{A6E76F04-B2CC-4D84-9FEF-7F4AE5029D8B}" presName="bigChev" presStyleLbl="node1" presStyleIdx="1" presStyleCnt="2" custScaleX="48317" custScaleY="74427" custLinFactNeighborX="-13686" custLinFactNeighborY="-10819"/>
      <dgm:spPr>
        <a:prstGeom prst="homePlate">
          <a:avLst/>
        </a:prstGeom>
      </dgm:spPr>
    </dgm:pt>
    <dgm:pt modelId="{AE03C93E-CE78-4D67-8FFD-7784B2623E5B}" type="pres">
      <dgm:prSet presAssocID="{1F2482F1-5AFF-4E0E-9D56-424F2FF4D415}" presName="parTrans" presStyleCnt="0"/>
      <dgm:spPr/>
    </dgm:pt>
    <dgm:pt modelId="{D83BF629-AED7-41D4-B51E-1944D37A49FC}" type="pres">
      <dgm:prSet presAssocID="{104FDF8B-2427-4E1F-86AB-16B6CF680632}" presName="node" presStyleLbl="alignAccFollowNode1" presStyleIdx="1" presStyleCnt="2" custScaleX="107076" custScaleY="93149" custLinFactX="5461" custLinFactNeighborX="100000" custLinFactNeighborY="-20402">
        <dgm:presLayoutVars>
          <dgm:bulletEnabled val="1"/>
        </dgm:presLayoutVars>
      </dgm:prSet>
      <dgm:spPr>
        <a:prstGeom prst="rect">
          <a:avLst/>
        </a:prstGeom>
      </dgm:spPr>
    </dgm:pt>
  </dgm:ptLst>
  <dgm:cxnLst>
    <dgm:cxn modelId="{E8599F0E-DC71-4C23-85E6-873FD4623580}" srcId="{D6D4FF25-A436-4EC3-9E5E-3868E90E10C7}" destId="{A6E76F04-B2CC-4D84-9FEF-7F4AE5029D8B}" srcOrd="1" destOrd="0" parTransId="{1EE6C92E-64C6-477A-92B1-0ED63691E8A4}" sibTransId="{A5CAD199-B80F-41C2-A725-5226426E0E79}"/>
    <dgm:cxn modelId="{89356B64-A389-4A47-A6F8-D166652BCE53}" srcId="{ED5FA491-D0E3-4F35-AD58-343C153634A9}" destId="{265A13ED-95DF-497C-A956-A581DFD3781C}" srcOrd="0" destOrd="0" parTransId="{974C024B-B330-4834-980B-EE0867B2A8F7}" sibTransId="{D0065DDE-E5CC-4CF0-8A8A-E6EF2780EDA7}"/>
    <dgm:cxn modelId="{A677964C-7DBF-47E1-A231-5B0981FCFFF5}" type="presOf" srcId="{A6E76F04-B2CC-4D84-9FEF-7F4AE5029D8B}" destId="{29454C26-B0E7-4228-8420-B10FEB86CA3C}" srcOrd="0" destOrd="0" presId="urn:microsoft.com/office/officeart/2005/8/layout/lProcess3"/>
    <dgm:cxn modelId="{0B007489-732A-495D-903A-FE15AF1B7D44}" type="presOf" srcId="{265A13ED-95DF-497C-A956-A581DFD3781C}" destId="{ACD141A2-0F72-4EC4-BB07-8777D6440644}" srcOrd="0" destOrd="0" presId="urn:microsoft.com/office/officeart/2005/8/layout/lProcess3"/>
    <dgm:cxn modelId="{1DCE7F89-03B4-4FF3-89EC-1CAB18499189}" type="presOf" srcId="{ED5FA491-D0E3-4F35-AD58-343C153634A9}" destId="{D559A4F6-F4A5-4189-AFC9-98CE032E39D9}" srcOrd="0" destOrd="0" presId="urn:microsoft.com/office/officeart/2005/8/layout/lProcess3"/>
    <dgm:cxn modelId="{E78ABB9C-05B5-4042-BB32-59A611ADFD3D}" type="presOf" srcId="{104FDF8B-2427-4E1F-86AB-16B6CF680632}" destId="{D83BF629-AED7-41D4-B51E-1944D37A49FC}" srcOrd="0" destOrd="0" presId="urn:microsoft.com/office/officeart/2005/8/layout/lProcess3"/>
    <dgm:cxn modelId="{943FACC8-6889-491C-A944-770CE5CF8C48}" type="presOf" srcId="{D6D4FF25-A436-4EC3-9E5E-3868E90E10C7}" destId="{2EB4F955-16D8-4CCA-803E-1C881B87F968}" srcOrd="0" destOrd="0" presId="urn:microsoft.com/office/officeart/2005/8/layout/lProcess3"/>
    <dgm:cxn modelId="{0FD343E4-8DBA-4D9A-AC41-DB08AA70741D}" srcId="{D6D4FF25-A436-4EC3-9E5E-3868E90E10C7}" destId="{ED5FA491-D0E3-4F35-AD58-343C153634A9}" srcOrd="0" destOrd="0" parTransId="{0E59C514-1030-4AA0-AF30-CBE40D1FC3ED}" sibTransId="{2644B259-8499-4B7E-8371-D685BF6797D8}"/>
    <dgm:cxn modelId="{7963A9F6-82DE-4576-A216-59FF2F5F0A13}" srcId="{A6E76F04-B2CC-4D84-9FEF-7F4AE5029D8B}" destId="{104FDF8B-2427-4E1F-86AB-16B6CF680632}" srcOrd="0" destOrd="0" parTransId="{1F2482F1-5AFF-4E0E-9D56-424F2FF4D415}" sibTransId="{D1A4A476-CA90-4915-9484-49A52EDC3A01}"/>
    <dgm:cxn modelId="{BB931D09-7CE6-46C3-8603-4325C68D2B65}" type="presParOf" srcId="{2EB4F955-16D8-4CCA-803E-1C881B87F968}" destId="{0804466D-761C-45C5-9FBF-06D288D4DD5E}" srcOrd="0" destOrd="0" presId="urn:microsoft.com/office/officeart/2005/8/layout/lProcess3"/>
    <dgm:cxn modelId="{3450F34E-FFC6-4C9C-8B8A-22FBE7B942AC}" type="presParOf" srcId="{0804466D-761C-45C5-9FBF-06D288D4DD5E}" destId="{D559A4F6-F4A5-4189-AFC9-98CE032E39D9}" srcOrd="0" destOrd="0" presId="urn:microsoft.com/office/officeart/2005/8/layout/lProcess3"/>
    <dgm:cxn modelId="{4A151B3C-03E7-47E8-8DCF-44C537CD2201}" type="presParOf" srcId="{0804466D-761C-45C5-9FBF-06D288D4DD5E}" destId="{DFBE9F10-2644-4A53-93BC-3587032DC803}" srcOrd="1" destOrd="0" presId="urn:microsoft.com/office/officeart/2005/8/layout/lProcess3"/>
    <dgm:cxn modelId="{3967B000-C46D-462B-8A75-0039781940AA}" type="presParOf" srcId="{0804466D-761C-45C5-9FBF-06D288D4DD5E}" destId="{ACD141A2-0F72-4EC4-BB07-8777D6440644}" srcOrd="2" destOrd="0" presId="urn:microsoft.com/office/officeart/2005/8/layout/lProcess3"/>
    <dgm:cxn modelId="{4A566609-58B0-4759-8089-D529D68FA51A}" type="presParOf" srcId="{2EB4F955-16D8-4CCA-803E-1C881B87F968}" destId="{08A26FF5-CEA6-41BC-8DE2-49853B0F3077}" srcOrd="1" destOrd="0" presId="urn:microsoft.com/office/officeart/2005/8/layout/lProcess3"/>
    <dgm:cxn modelId="{6AB8B995-52A4-4909-87CC-9AF80A5AEFFD}" type="presParOf" srcId="{2EB4F955-16D8-4CCA-803E-1C881B87F968}" destId="{4253B309-DEB9-45E3-B2E4-25ADB5D6603F}" srcOrd="2" destOrd="0" presId="urn:microsoft.com/office/officeart/2005/8/layout/lProcess3"/>
    <dgm:cxn modelId="{532A65FE-F16F-4FCD-8B37-1CD86FAFF05C}" type="presParOf" srcId="{4253B309-DEB9-45E3-B2E4-25ADB5D6603F}" destId="{29454C26-B0E7-4228-8420-B10FEB86CA3C}" srcOrd="0" destOrd="0" presId="urn:microsoft.com/office/officeart/2005/8/layout/lProcess3"/>
    <dgm:cxn modelId="{A71FE2DD-6C3F-40EB-93D3-8B4D03FD96F6}" type="presParOf" srcId="{4253B309-DEB9-45E3-B2E4-25ADB5D6603F}" destId="{AE03C93E-CE78-4D67-8FFD-7784B2623E5B}" srcOrd="1" destOrd="0" presId="urn:microsoft.com/office/officeart/2005/8/layout/lProcess3"/>
    <dgm:cxn modelId="{5C2F31A2-303B-4D59-AF3C-E55CF2DCD178}" type="presParOf" srcId="{4253B309-DEB9-45E3-B2E4-25ADB5D6603F}" destId="{D83BF629-AED7-41D4-B51E-1944D37A49FC}" srcOrd="2"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90A3B86F-1B89-49E2-A03A-732D79C6FA2C}" type="doc">
      <dgm:prSet loTypeId="urn:microsoft.com/office/officeart/2005/8/layout/list1" loCatId="list" qsTypeId="urn:microsoft.com/office/officeart/2005/8/quickstyle/simple1" qsCatId="simple" csTypeId="urn:microsoft.com/office/officeart/2005/8/colors/accent6_4" csCatId="accent6" phldr="1"/>
      <dgm:spPr/>
      <dgm:t>
        <a:bodyPr/>
        <a:lstStyle/>
        <a:p>
          <a:endParaRPr lang="en-GB"/>
        </a:p>
      </dgm:t>
    </dgm:pt>
    <dgm:pt modelId="{E8884E6E-F3D7-44CB-B848-80858B248934}">
      <dgm:prSet phldrT="[Text]"/>
      <dgm:spPr>
        <a:solidFill>
          <a:schemeClr val="lt1">
            <a:hueOff val="0"/>
            <a:satOff val="0"/>
            <a:lumOff val="0"/>
          </a:schemeClr>
        </a:solidFill>
        <a:ln>
          <a:solidFill>
            <a:schemeClr val="accent6"/>
          </a:solidFill>
        </a:ln>
      </dgm:spPr>
      <dgm:t>
        <a:bodyPr/>
        <a:lstStyle/>
        <a:p>
          <a:r>
            <a:rPr lang="el-GR" b="1" dirty="0">
              <a:solidFill>
                <a:schemeClr val="tx1"/>
              </a:solidFill>
            </a:rPr>
            <a:t>Μέσω της διαδικτυακής πύλης δικαιούχων</a:t>
          </a:r>
          <a:endParaRPr lang="en-GB" b="1" dirty="0">
            <a:solidFill>
              <a:schemeClr val="tx1"/>
            </a:solidFill>
          </a:endParaRPr>
        </a:p>
      </dgm:t>
    </dgm:pt>
    <dgm:pt modelId="{53ADCE3A-36D4-4385-9DA5-14720684433D}" type="parTrans" cxnId="{629D7172-7013-4E6E-B5D9-4328C4319B64}">
      <dgm:prSet/>
      <dgm:spPr/>
      <dgm:t>
        <a:bodyPr/>
        <a:lstStyle/>
        <a:p>
          <a:endParaRPr lang="en-GB"/>
        </a:p>
      </dgm:t>
    </dgm:pt>
    <dgm:pt modelId="{B481E74E-9F10-4C84-B63F-29E9A35FE6A0}" type="sibTrans" cxnId="{629D7172-7013-4E6E-B5D9-4328C4319B64}">
      <dgm:prSet/>
      <dgm:spPr/>
      <dgm:t>
        <a:bodyPr/>
        <a:lstStyle/>
        <a:p>
          <a:endParaRPr lang="en-GB"/>
        </a:p>
      </dgm:t>
    </dgm:pt>
    <dgm:pt modelId="{2E9A1E19-C71E-45BA-B52F-3342A3B0B83E}">
      <dgm:prSet phldrT="[Text]"/>
      <dgm:spPr>
        <a:ln>
          <a:solidFill>
            <a:schemeClr val="accent6">
              <a:lumMod val="40000"/>
              <a:lumOff val="60000"/>
            </a:schemeClr>
          </a:solidFill>
        </a:ln>
      </dgm:spPr>
      <dgm:t>
        <a:bodyPr/>
        <a:lstStyle/>
        <a:p>
          <a:r>
            <a:rPr lang="el-GR" altLang="ja-JP" u="none" dirty="0">
              <a:ea typeface="MS PGothic" pitchFamily="34" charset="-128"/>
            </a:rPr>
            <a:t>Ε</a:t>
          </a:r>
          <a:r>
            <a:rPr lang="el-GR" u="none" dirty="0">
              <a:solidFill>
                <a:schemeClr val="tx1">
                  <a:lumMod val="95000"/>
                  <a:lumOff val="5000"/>
                </a:schemeClr>
              </a:solidFill>
            </a:rPr>
            <a:t>πίσκεψη στον ΠΙ της επιλογής του δικαιούχου</a:t>
          </a:r>
          <a:endParaRPr lang="en-GB" u="none" dirty="0">
            <a:solidFill>
              <a:srgbClr val="FF0000"/>
            </a:solidFill>
          </a:endParaRPr>
        </a:p>
      </dgm:t>
    </dgm:pt>
    <dgm:pt modelId="{47E8FDFA-6F74-43E1-BC2C-BB9A9A501905}">
      <dgm:prSet phldrT="[Text]"/>
      <dgm:spPr>
        <a:solidFill>
          <a:schemeClr val="lt1">
            <a:hueOff val="0"/>
            <a:satOff val="0"/>
            <a:lumOff val="0"/>
          </a:schemeClr>
        </a:solidFill>
        <a:ln>
          <a:solidFill>
            <a:schemeClr val="accent6"/>
          </a:solidFill>
        </a:ln>
      </dgm:spPr>
      <dgm:t>
        <a:bodyPr/>
        <a:lstStyle/>
        <a:p>
          <a:r>
            <a:rPr lang="el-GR" b="1" dirty="0">
              <a:solidFill>
                <a:schemeClr val="tx1"/>
              </a:solidFill>
            </a:rPr>
            <a:t>Μέσω επίσκεψης σε ΠΙ</a:t>
          </a:r>
          <a:endParaRPr lang="en-GB" b="1" dirty="0">
            <a:solidFill>
              <a:schemeClr val="tx1"/>
            </a:solidFill>
          </a:endParaRPr>
        </a:p>
      </dgm:t>
    </dgm:pt>
    <dgm:pt modelId="{CCF9714C-845B-4CB5-AE7F-17B85162E83F}" type="sibTrans" cxnId="{F5D6D0F0-A281-49F1-9E23-5E57F96BD452}">
      <dgm:prSet/>
      <dgm:spPr/>
      <dgm:t>
        <a:bodyPr/>
        <a:lstStyle/>
        <a:p>
          <a:endParaRPr lang="en-GB"/>
        </a:p>
      </dgm:t>
    </dgm:pt>
    <dgm:pt modelId="{48658061-ED37-472A-A03B-15382DBAE106}" type="parTrans" cxnId="{F5D6D0F0-A281-49F1-9E23-5E57F96BD452}">
      <dgm:prSet/>
      <dgm:spPr/>
      <dgm:t>
        <a:bodyPr/>
        <a:lstStyle/>
        <a:p>
          <a:endParaRPr lang="en-GB"/>
        </a:p>
      </dgm:t>
    </dgm:pt>
    <dgm:pt modelId="{27B4CFA9-4662-47D6-B7BF-B925CE511A3B}" type="sibTrans" cxnId="{C538D258-5156-4722-B811-F1AA8A376893}">
      <dgm:prSet/>
      <dgm:spPr/>
      <dgm:t>
        <a:bodyPr/>
        <a:lstStyle/>
        <a:p>
          <a:endParaRPr lang="en-GB"/>
        </a:p>
      </dgm:t>
    </dgm:pt>
    <dgm:pt modelId="{2DF908F1-26F8-4575-90B7-48D896AA8D81}" type="parTrans" cxnId="{C538D258-5156-4722-B811-F1AA8A376893}">
      <dgm:prSet/>
      <dgm:spPr/>
      <dgm:t>
        <a:bodyPr/>
        <a:lstStyle/>
        <a:p>
          <a:endParaRPr lang="en-GB"/>
        </a:p>
      </dgm:t>
    </dgm:pt>
    <dgm:pt modelId="{09DCC0EB-9463-4A80-9A32-39F68B35EAEC}">
      <dgm:prSet/>
      <dgm:spPr>
        <a:ln>
          <a:solidFill>
            <a:schemeClr val="accent6">
              <a:lumMod val="40000"/>
              <a:lumOff val="60000"/>
            </a:schemeClr>
          </a:solidFill>
        </a:ln>
      </dgm:spPr>
      <dgm:t>
        <a:bodyPr/>
        <a:lstStyle/>
        <a:p>
          <a:pPr marL="0" marR="0" indent="0" algn="l" defTabSz="914400" eaLnBrk="1" fontAlgn="auto" latinLnBrk="0" hangingPunct="1">
            <a:lnSpc>
              <a:spcPct val="100000"/>
            </a:lnSpc>
            <a:spcBef>
              <a:spcPts val="0"/>
            </a:spcBef>
            <a:spcAft>
              <a:spcPts val="0"/>
            </a:spcAft>
            <a:buClrTx/>
            <a:buSzTx/>
            <a:buFontTx/>
            <a:buNone/>
            <a:tabLst/>
            <a:defRPr/>
          </a:pPr>
          <a:r>
            <a:rPr lang="el-GR" dirty="0"/>
            <a:t> </a:t>
          </a:r>
          <a:r>
            <a:rPr lang="el-GR" b="0" u="none" dirty="0"/>
            <a:t>Δημιουργία λογαριασμού μέσω της ιστοσελίδας </a:t>
          </a:r>
          <a:r>
            <a:rPr lang="el-GR" u="none" dirty="0"/>
            <a:t>του    Οργανισμού</a:t>
          </a:r>
        </a:p>
      </dgm:t>
    </dgm:pt>
    <dgm:pt modelId="{6AA9A3A7-73FA-4822-898C-A6F7A97A6FCE}" type="sibTrans" cxnId="{443C7003-5C61-48FA-83A1-84E8EDE1ECD0}">
      <dgm:prSet/>
      <dgm:spPr/>
      <dgm:t>
        <a:bodyPr/>
        <a:lstStyle/>
        <a:p>
          <a:endParaRPr lang="el-GR"/>
        </a:p>
      </dgm:t>
    </dgm:pt>
    <dgm:pt modelId="{70CF9CDA-05E9-4158-9048-7BDA172AF72E}" type="parTrans" cxnId="{443C7003-5C61-48FA-83A1-84E8EDE1ECD0}">
      <dgm:prSet/>
      <dgm:spPr/>
      <dgm:t>
        <a:bodyPr/>
        <a:lstStyle/>
        <a:p>
          <a:endParaRPr lang="el-GR"/>
        </a:p>
      </dgm:t>
    </dgm:pt>
    <dgm:pt modelId="{D851B373-3700-4046-A64C-CFED121EA476}">
      <dgm:prSet/>
      <dgm:spPr>
        <a:ln>
          <a:solidFill>
            <a:schemeClr val="accent6">
              <a:lumMod val="40000"/>
              <a:lumOff val="60000"/>
            </a:schemeClr>
          </a:solidFill>
        </a:ln>
      </dgm:spPr>
      <dgm:t>
        <a:bodyPr/>
        <a:lstStyle/>
        <a:p>
          <a:pPr marL="0" marR="0" indent="0" algn="l" defTabSz="914400" eaLnBrk="1" fontAlgn="auto" latinLnBrk="0" hangingPunct="1">
            <a:lnSpc>
              <a:spcPct val="100000"/>
            </a:lnSpc>
            <a:spcBef>
              <a:spcPts val="0"/>
            </a:spcBef>
            <a:spcAft>
              <a:spcPts val="0"/>
            </a:spcAft>
            <a:buClrTx/>
            <a:buSzTx/>
            <a:buFontTx/>
            <a:buNone/>
            <a:tabLst/>
            <a:defRPr/>
          </a:pPr>
          <a:r>
            <a:rPr lang="el-GR" u="none" dirty="0"/>
            <a:t> Πρόσβαση στη Διαδικτυακή Πύλη Δικαιούχων</a:t>
          </a:r>
        </a:p>
      </dgm:t>
    </dgm:pt>
    <dgm:pt modelId="{300F3615-3942-4C16-B0DE-A81229E7787E}" type="parTrans" cxnId="{9DE67527-B9FA-4571-83EB-F92AAB2901DB}">
      <dgm:prSet/>
      <dgm:spPr/>
      <dgm:t>
        <a:bodyPr/>
        <a:lstStyle/>
        <a:p>
          <a:endParaRPr lang="el-GR"/>
        </a:p>
      </dgm:t>
    </dgm:pt>
    <dgm:pt modelId="{578D1769-36AF-4EE1-8A47-E92DB8418CBF}" type="sibTrans" cxnId="{9DE67527-B9FA-4571-83EB-F92AAB2901DB}">
      <dgm:prSet/>
      <dgm:spPr/>
      <dgm:t>
        <a:bodyPr/>
        <a:lstStyle/>
        <a:p>
          <a:endParaRPr lang="el-GR"/>
        </a:p>
      </dgm:t>
    </dgm:pt>
    <dgm:pt modelId="{6E56B5AB-9520-4836-B7A2-063D0999F205}">
      <dgm:prSet/>
      <dgm:spPr>
        <a:ln>
          <a:solidFill>
            <a:schemeClr val="accent6">
              <a:lumMod val="40000"/>
              <a:lumOff val="60000"/>
            </a:schemeClr>
          </a:solidFill>
        </a:ln>
      </dgm:spPr>
      <dgm:t>
        <a:bodyPr/>
        <a:lstStyle/>
        <a:p>
          <a:pPr marL="0" marR="0" indent="0" algn="l" defTabSz="914400" eaLnBrk="1" fontAlgn="auto" latinLnBrk="0" hangingPunct="1">
            <a:lnSpc>
              <a:spcPct val="100000"/>
            </a:lnSpc>
            <a:spcBef>
              <a:spcPts val="0"/>
            </a:spcBef>
            <a:spcAft>
              <a:spcPts val="0"/>
            </a:spcAft>
            <a:buClrTx/>
            <a:buSzTx/>
            <a:buFontTx/>
            <a:buNone/>
            <a:tabLst/>
            <a:defRPr/>
          </a:pPr>
          <a:r>
            <a:rPr lang="el-GR" u="none" dirty="0"/>
            <a:t> </a:t>
          </a:r>
          <a:r>
            <a:rPr lang="el-GR" i="0" u="none" dirty="0"/>
            <a:t>Επιλογή ΠΙ και </a:t>
          </a:r>
          <a:r>
            <a:rPr lang="el-GR" dirty="0"/>
            <a:t>εγγραφή στον κατάλογο του</a:t>
          </a:r>
        </a:p>
      </dgm:t>
    </dgm:pt>
    <dgm:pt modelId="{CD978A99-8074-429F-8821-900DCF21E866}" type="parTrans" cxnId="{5085E6B9-9AA3-4C38-9646-1E0C4AC9EFFA}">
      <dgm:prSet/>
      <dgm:spPr/>
      <dgm:t>
        <a:bodyPr/>
        <a:lstStyle/>
        <a:p>
          <a:endParaRPr lang="el-GR"/>
        </a:p>
      </dgm:t>
    </dgm:pt>
    <dgm:pt modelId="{2D5D34A7-5838-47A0-981A-4E8D802E449B}" type="sibTrans" cxnId="{5085E6B9-9AA3-4C38-9646-1E0C4AC9EFFA}">
      <dgm:prSet/>
      <dgm:spPr/>
      <dgm:t>
        <a:bodyPr/>
        <a:lstStyle/>
        <a:p>
          <a:endParaRPr lang="el-GR"/>
        </a:p>
      </dgm:t>
    </dgm:pt>
    <dgm:pt modelId="{2956D387-1B27-45A8-AABE-B44B22685B92}">
      <dgm:prSet phldrT="[Text]"/>
      <dgm:spPr>
        <a:ln>
          <a:solidFill>
            <a:schemeClr val="accent6">
              <a:lumMod val="40000"/>
              <a:lumOff val="60000"/>
            </a:schemeClr>
          </a:solidFill>
        </a:ln>
      </dgm:spPr>
      <dgm:t>
        <a:bodyPr/>
        <a:lstStyle/>
        <a:p>
          <a:r>
            <a:rPr lang="el-GR" u="none" dirty="0">
              <a:solidFill>
                <a:schemeClr val="tx1">
                  <a:lumMod val="95000"/>
                  <a:lumOff val="5000"/>
                </a:schemeClr>
              </a:solidFill>
            </a:rPr>
            <a:t>Συμπλήρωση των απαραίτητων στοιχείων από τον ΠΙ</a:t>
          </a:r>
          <a:endParaRPr lang="en-GB" u="none" dirty="0">
            <a:solidFill>
              <a:schemeClr val="tx1">
                <a:lumMod val="95000"/>
                <a:lumOff val="5000"/>
              </a:schemeClr>
            </a:solidFill>
          </a:endParaRPr>
        </a:p>
      </dgm:t>
    </dgm:pt>
    <dgm:pt modelId="{4C462A47-952C-4F29-8633-422EAD0479CA}" type="parTrans" cxnId="{99F2FA44-8C1B-472E-9136-EFA41655DBB8}">
      <dgm:prSet/>
      <dgm:spPr/>
      <dgm:t>
        <a:bodyPr/>
        <a:lstStyle/>
        <a:p>
          <a:endParaRPr lang="el-GR"/>
        </a:p>
      </dgm:t>
    </dgm:pt>
    <dgm:pt modelId="{C0FC2019-6FB5-49D7-A653-CEE68A117D56}" type="sibTrans" cxnId="{99F2FA44-8C1B-472E-9136-EFA41655DBB8}">
      <dgm:prSet/>
      <dgm:spPr/>
      <dgm:t>
        <a:bodyPr/>
        <a:lstStyle/>
        <a:p>
          <a:endParaRPr lang="el-GR"/>
        </a:p>
      </dgm:t>
    </dgm:pt>
    <dgm:pt modelId="{E82CF1B0-4CA2-4147-899E-D58A29D5BCD7}">
      <dgm:prSet phldrT="[Text]"/>
      <dgm:spPr>
        <a:ln>
          <a:solidFill>
            <a:schemeClr val="accent6">
              <a:lumMod val="40000"/>
              <a:lumOff val="60000"/>
            </a:schemeClr>
          </a:solidFill>
        </a:ln>
      </dgm:spPr>
      <dgm:t>
        <a:bodyPr/>
        <a:lstStyle/>
        <a:p>
          <a:r>
            <a:rPr lang="el-GR" u="none" dirty="0">
              <a:solidFill>
                <a:schemeClr val="tx1">
                  <a:lumMod val="95000"/>
                  <a:lumOff val="5000"/>
                </a:schemeClr>
              </a:solidFill>
            </a:rPr>
            <a:t>Εγγραφή στη λίστα του ΠΙ</a:t>
          </a:r>
          <a:endParaRPr lang="en-GB" u="none" dirty="0">
            <a:solidFill>
              <a:schemeClr val="tx1">
                <a:lumMod val="95000"/>
                <a:lumOff val="5000"/>
              </a:schemeClr>
            </a:solidFill>
          </a:endParaRPr>
        </a:p>
      </dgm:t>
    </dgm:pt>
    <dgm:pt modelId="{662F3C6F-1242-486D-B228-8CFCC1A1C97E}" type="parTrans" cxnId="{F3AEBFEB-8874-4604-AC44-F4531EEA9646}">
      <dgm:prSet/>
      <dgm:spPr/>
      <dgm:t>
        <a:bodyPr/>
        <a:lstStyle/>
        <a:p>
          <a:endParaRPr lang="el-GR"/>
        </a:p>
      </dgm:t>
    </dgm:pt>
    <dgm:pt modelId="{629956A2-CBB6-407C-958A-5202475C7C19}" type="sibTrans" cxnId="{F3AEBFEB-8874-4604-AC44-F4531EEA9646}">
      <dgm:prSet/>
      <dgm:spPr/>
      <dgm:t>
        <a:bodyPr/>
        <a:lstStyle/>
        <a:p>
          <a:endParaRPr lang="el-GR"/>
        </a:p>
      </dgm:t>
    </dgm:pt>
    <dgm:pt modelId="{386B1967-3684-4D23-8E26-D642C526CDA4}">
      <dgm:prSet/>
      <dgm:spPr>
        <a:ln>
          <a:solidFill>
            <a:schemeClr val="accent6">
              <a:lumMod val="40000"/>
              <a:lumOff val="60000"/>
            </a:schemeClr>
          </a:solidFill>
        </a:ln>
      </dgm:spPr>
      <dgm:t>
        <a:bodyPr/>
        <a:lstStyle/>
        <a:p>
          <a:pPr marL="0" marR="0" indent="0" algn="l" defTabSz="914400" eaLnBrk="1" fontAlgn="auto" latinLnBrk="0" hangingPunct="1">
            <a:lnSpc>
              <a:spcPct val="100000"/>
            </a:lnSpc>
            <a:spcBef>
              <a:spcPts val="0"/>
            </a:spcBef>
            <a:spcAft>
              <a:spcPts val="0"/>
            </a:spcAft>
            <a:buClrTx/>
            <a:buSzTx/>
            <a:buFontTx/>
            <a:buNone/>
            <a:tabLst/>
            <a:defRPr/>
          </a:pPr>
          <a:r>
            <a:rPr lang="el-GR" u="none" dirty="0"/>
            <a:t> Συμπλήρωση αίτησης για εγγραφή στο ΓεΣΥ</a:t>
          </a:r>
        </a:p>
      </dgm:t>
    </dgm:pt>
    <dgm:pt modelId="{A025C935-7172-4041-AAD0-C8F25A83CE6C}" type="parTrans" cxnId="{1E3CBBBE-961E-4353-AD65-3B1A60E1B232}">
      <dgm:prSet/>
      <dgm:spPr/>
      <dgm:t>
        <a:bodyPr/>
        <a:lstStyle/>
        <a:p>
          <a:endParaRPr lang="el-GR"/>
        </a:p>
      </dgm:t>
    </dgm:pt>
    <dgm:pt modelId="{3B7F5028-9FE8-4759-8494-E2F6A13151CE}" type="sibTrans" cxnId="{1E3CBBBE-961E-4353-AD65-3B1A60E1B232}">
      <dgm:prSet/>
      <dgm:spPr/>
      <dgm:t>
        <a:bodyPr/>
        <a:lstStyle/>
        <a:p>
          <a:endParaRPr lang="el-GR"/>
        </a:p>
      </dgm:t>
    </dgm:pt>
    <dgm:pt modelId="{FE895929-526E-48A2-B0C9-921A114D2B79}" type="pres">
      <dgm:prSet presAssocID="{90A3B86F-1B89-49E2-A03A-732D79C6FA2C}" presName="linear" presStyleCnt="0">
        <dgm:presLayoutVars>
          <dgm:dir/>
          <dgm:animLvl val="lvl"/>
          <dgm:resizeHandles val="exact"/>
        </dgm:presLayoutVars>
      </dgm:prSet>
      <dgm:spPr/>
    </dgm:pt>
    <dgm:pt modelId="{768C01FA-804B-48FF-88E9-5ECA807EE59E}" type="pres">
      <dgm:prSet presAssocID="{E8884E6E-F3D7-44CB-B848-80858B248934}" presName="parentLin" presStyleCnt="0"/>
      <dgm:spPr/>
    </dgm:pt>
    <dgm:pt modelId="{FD81682C-402B-451B-A7C6-F1FA62C0CEA7}" type="pres">
      <dgm:prSet presAssocID="{E8884E6E-F3D7-44CB-B848-80858B248934}" presName="parentLeftMargin" presStyleLbl="node1" presStyleIdx="0" presStyleCnt="2"/>
      <dgm:spPr/>
    </dgm:pt>
    <dgm:pt modelId="{1EBC1D9E-B1AF-4548-A40B-4DCE5454796A}" type="pres">
      <dgm:prSet presAssocID="{E8884E6E-F3D7-44CB-B848-80858B248934}" presName="parentText" presStyleLbl="node1" presStyleIdx="0" presStyleCnt="2">
        <dgm:presLayoutVars>
          <dgm:chMax val="0"/>
          <dgm:bulletEnabled val="1"/>
        </dgm:presLayoutVars>
      </dgm:prSet>
      <dgm:spPr/>
    </dgm:pt>
    <dgm:pt modelId="{9C3DAD6B-C04D-4A51-88E7-E8F2BDF4535C}" type="pres">
      <dgm:prSet presAssocID="{E8884E6E-F3D7-44CB-B848-80858B248934}" presName="negativeSpace" presStyleCnt="0"/>
      <dgm:spPr/>
    </dgm:pt>
    <dgm:pt modelId="{A4DEE548-0BA8-4ECC-BDCC-50BFD3A25E20}" type="pres">
      <dgm:prSet presAssocID="{E8884E6E-F3D7-44CB-B848-80858B248934}" presName="childText" presStyleLbl="conFgAcc1" presStyleIdx="0" presStyleCnt="2">
        <dgm:presLayoutVars>
          <dgm:bulletEnabled val="1"/>
        </dgm:presLayoutVars>
      </dgm:prSet>
      <dgm:spPr/>
    </dgm:pt>
    <dgm:pt modelId="{2BC5E799-F9E6-4966-8778-9278F02C1944}" type="pres">
      <dgm:prSet presAssocID="{B481E74E-9F10-4C84-B63F-29E9A35FE6A0}" presName="spaceBetweenRectangles" presStyleCnt="0"/>
      <dgm:spPr/>
    </dgm:pt>
    <dgm:pt modelId="{8D2DBDDB-1F91-4A78-B762-F5E193E54A42}" type="pres">
      <dgm:prSet presAssocID="{47E8FDFA-6F74-43E1-BC2C-BB9A9A501905}" presName="parentLin" presStyleCnt="0"/>
      <dgm:spPr/>
    </dgm:pt>
    <dgm:pt modelId="{5FE92B61-5C4C-458B-A733-1481ACD34223}" type="pres">
      <dgm:prSet presAssocID="{47E8FDFA-6F74-43E1-BC2C-BB9A9A501905}" presName="parentLeftMargin" presStyleLbl="node1" presStyleIdx="0" presStyleCnt="2"/>
      <dgm:spPr/>
    </dgm:pt>
    <dgm:pt modelId="{064DD5A9-75E5-4F02-AE6D-66ACE019AD94}" type="pres">
      <dgm:prSet presAssocID="{47E8FDFA-6F74-43E1-BC2C-BB9A9A501905}" presName="parentText" presStyleLbl="node1" presStyleIdx="1" presStyleCnt="2">
        <dgm:presLayoutVars>
          <dgm:chMax val="0"/>
          <dgm:bulletEnabled val="1"/>
        </dgm:presLayoutVars>
      </dgm:prSet>
      <dgm:spPr/>
    </dgm:pt>
    <dgm:pt modelId="{4D678655-A78E-4792-90DB-ECB1F1161D2D}" type="pres">
      <dgm:prSet presAssocID="{47E8FDFA-6F74-43E1-BC2C-BB9A9A501905}" presName="negativeSpace" presStyleCnt="0"/>
      <dgm:spPr/>
    </dgm:pt>
    <dgm:pt modelId="{6F88C06B-B6F7-4D90-B356-462CF06F7043}" type="pres">
      <dgm:prSet presAssocID="{47E8FDFA-6F74-43E1-BC2C-BB9A9A501905}" presName="childText" presStyleLbl="conFgAcc1" presStyleIdx="1" presStyleCnt="2">
        <dgm:presLayoutVars>
          <dgm:bulletEnabled val="1"/>
        </dgm:presLayoutVars>
      </dgm:prSet>
      <dgm:spPr/>
    </dgm:pt>
  </dgm:ptLst>
  <dgm:cxnLst>
    <dgm:cxn modelId="{443C7003-5C61-48FA-83A1-84E8EDE1ECD0}" srcId="{E8884E6E-F3D7-44CB-B848-80858B248934}" destId="{09DCC0EB-9463-4A80-9A32-39F68B35EAEC}" srcOrd="0" destOrd="0" parTransId="{70CF9CDA-05E9-4158-9048-7BDA172AF72E}" sibTransId="{6AA9A3A7-73FA-4822-898C-A6F7A97A6FCE}"/>
    <dgm:cxn modelId="{3579B20A-E2FC-4C4D-9249-0FF539F6FE09}" type="presOf" srcId="{E8884E6E-F3D7-44CB-B848-80858B248934}" destId="{1EBC1D9E-B1AF-4548-A40B-4DCE5454796A}" srcOrd="1" destOrd="0" presId="urn:microsoft.com/office/officeart/2005/8/layout/list1"/>
    <dgm:cxn modelId="{0D26D417-3C86-4CD7-B571-DB75F8A8EA5E}" type="presOf" srcId="{47E8FDFA-6F74-43E1-BC2C-BB9A9A501905}" destId="{064DD5A9-75E5-4F02-AE6D-66ACE019AD94}" srcOrd="1" destOrd="0" presId="urn:microsoft.com/office/officeart/2005/8/layout/list1"/>
    <dgm:cxn modelId="{9DE67527-B9FA-4571-83EB-F92AAB2901DB}" srcId="{E8884E6E-F3D7-44CB-B848-80858B248934}" destId="{D851B373-3700-4046-A64C-CFED121EA476}" srcOrd="1" destOrd="0" parTransId="{300F3615-3942-4C16-B0DE-A81229E7787E}" sibTransId="{578D1769-36AF-4EE1-8A47-E92DB8418CBF}"/>
    <dgm:cxn modelId="{B6891738-BE2B-48BD-B074-8B79B10D8178}" type="presOf" srcId="{D851B373-3700-4046-A64C-CFED121EA476}" destId="{A4DEE548-0BA8-4ECC-BDCC-50BFD3A25E20}" srcOrd="0" destOrd="1" presId="urn:microsoft.com/office/officeart/2005/8/layout/list1"/>
    <dgm:cxn modelId="{392B2C63-B567-4E7C-BB61-E59B51F49FE3}" type="presOf" srcId="{6E56B5AB-9520-4836-B7A2-063D0999F205}" destId="{A4DEE548-0BA8-4ECC-BDCC-50BFD3A25E20}" srcOrd="0" destOrd="3" presId="urn:microsoft.com/office/officeart/2005/8/layout/list1"/>
    <dgm:cxn modelId="{99F2FA44-8C1B-472E-9136-EFA41655DBB8}" srcId="{47E8FDFA-6F74-43E1-BC2C-BB9A9A501905}" destId="{2956D387-1B27-45A8-AABE-B44B22685B92}" srcOrd="1" destOrd="0" parTransId="{4C462A47-952C-4F29-8633-422EAD0479CA}" sibTransId="{C0FC2019-6FB5-49D7-A653-CEE68A117D56}"/>
    <dgm:cxn modelId="{53A8C365-E6E4-4E67-A58D-3030CC083CEB}" type="presOf" srcId="{90A3B86F-1B89-49E2-A03A-732D79C6FA2C}" destId="{FE895929-526E-48A2-B0C9-921A114D2B79}" srcOrd="0" destOrd="0" presId="urn:microsoft.com/office/officeart/2005/8/layout/list1"/>
    <dgm:cxn modelId="{7E37D270-FE04-4B63-915F-DCF901D939B4}" type="presOf" srcId="{09DCC0EB-9463-4A80-9A32-39F68B35EAEC}" destId="{A4DEE548-0BA8-4ECC-BDCC-50BFD3A25E20}" srcOrd="0" destOrd="0" presId="urn:microsoft.com/office/officeart/2005/8/layout/list1"/>
    <dgm:cxn modelId="{629D7172-7013-4E6E-B5D9-4328C4319B64}" srcId="{90A3B86F-1B89-49E2-A03A-732D79C6FA2C}" destId="{E8884E6E-F3D7-44CB-B848-80858B248934}" srcOrd="0" destOrd="0" parTransId="{53ADCE3A-36D4-4385-9DA5-14720684433D}" sibTransId="{B481E74E-9F10-4C84-B63F-29E9A35FE6A0}"/>
    <dgm:cxn modelId="{C538D258-5156-4722-B811-F1AA8A376893}" srcId="{47E8FDFA-6F74-43E1-BC2C-BB9A9A501905}" destId="{2E9A1E19-C71E-45BA-B52F-3342A3B0B83E}" srcOrd="0" destOrd="0" parTransId="{2DF908F1-26F8-4575-90B7-48D896AA8D81}" sibTransId="{27B4CFA9-4662-47D6-B7BF-B925CE511A3B}"/>
    <dgm:cxn modelId="{248E987B-0F4B-473C-BEE9-AAE4C87BDA9D}" type="presOf" srcId="{E8884E6E-F3D7-44CB-B848-80858B248934}" destId="{FD81682C-402B-451B-A7C6-F1FA62C0CEA7}" srcOrd="0" destOrd="0" presId="urn:microsoft.com/office/officeart/2005/8/layout/list1"/>
    <dgm:cxn modelId="{085A107D-0FDB-4FFD-A57F-0FA2277E8F38}" type="presOf" srcId="{E82CF1B0-4CA2-4147-899E-D58A29D5BCD7}" destId="{6F88C06B-B6F7-4D90-B356-462CF06F7043}" srcOrd="0" destOrd="2" presId="urn:microsoft.com/office/officeart/2005/8/layout/list1"/>
    <dgm:cxn modelId="{B2F72180-6441-4FCE-8BDC-01DC453D3D9E}" type="presOf" srcId="{2E9A1E19-C71E-45BA-B52F-3342A3B0B83E}" destId="{6F88C06B-B6F7-4D90-B356-462CF06F7043}" srcOrd="0" destOrd="0" presId="urn:microsoft.com/office/officeart/2005/8/layout/list1"/>
    <dgm:cxn modelId="{AA460AA7-B68B-4CA0-AD85-C2FE7C7EC7B6}" type="presOf" srcId="{47E8FDFA-6F74-43E1-BC2C-BB9A9A501905}" destId="{5FE92B61-5C4C-458B-A733-1481ACD34223}" srcOrd="0" destOrd="0" presId="urn:microsoft.com/office/officeart/2005/8/layout/list1"/>
    <dgm:cxn modelId="{5085E6B9-9AA3-4C38-9646-1E0C4AC9EFFA}" srcId="{E8884E6E-F3D7-44CB-B848-80858B248934}" destId="{6E56B5AB-9520-4836-B7A2-063D0999F205}" srcOrd="3" destOrd="0" parTransId="{CD978A99-8074-429F-8821-900DCF21E866}" sibTransId="{2D5D34A7-5838-47A0-981A-4E8D802E449B}"/>
    <dgm:cxn modelId="{1E3CBBBE-961E-4353-AD65-3B1A60E1B232}" srcId="{E8884E6E-F3D7-44CB-B848-80858B248934}" destId="{386B1967-3684-4D23-8E26-D642C526CDA4}" srcOrd="2" destOrd="0" parTransId="{A025C935-7172-4041-AAD0-C8F25A83CE6C}" sibTransId="{3B7F5028-9FE8-4759-8494-E2F6A13151CE}"/>
    <dgm:cxn modelId="{6CDCC2C3-4D07-4EC9-92FE-82BC7054FBE7}" type="presOf" srcId="{386B1967-3684-4D23-8E26-D642C526CDA4}" destId="{A4DEE548-0BA8-4ECC-BDCC-50BFD3A25E20}" srcOrd="0" destOrd="2" presId="urn:microsoft.com/office/officeart/2005/8/layout/list1"/>
    <dgm:cxn modelId="{F3AEBFEB-8874-4604-AC44-F4531EEA9646}" srcId="{47E8FDFA-6F74-43E1-BC2C-BB9A9A501905}" destId="{E82CF1B0-4CA2-4147-899E-D58A29D5BCD7}" srcOrd="2" destOrd="0" parTransId="{662F3C6F-1242-486D-B228-8CFCC1A1C97E}" sibTransId="{629956A2-CBB6-407C-958A-5202475C7C19}"/>
    <dgm:cxn modelId="{F5D6D0F0-A281-49F1-9E23-5E57F96BD452}" srcId="{90A3B86F-1B89-49E2-A03A-732D79C6FA2C}" destId="{47E8FDFA-6F74-43E1-BC2C-BB9A9A501905}" srcOrd="1" destOrd="0" parTransId="{48658061-ED37-472A-A03B-15382DBAE106}" sibTransId="{CCF9714C-845B-4CB5-AE7F-17B85162E83F}"/>
    <dgm:cxn modelId="{C3B179F5-2053-4ACC-AC95-EFDDC5977E7D}" type="presOf" srcId="{2956D387-1B27-45A8-AABE-B44B22685B92}" destId="{6F88C06B-B6F7-4D90-B356-462CF06F7043}" srcOrd="0" destOrd="1" presId="urn:microsoft.com/office/officeart/2005/8/layout/list1"/>
    <dgm:cxn modelId="{ABBB5AA9-3410-4F00-8F28-902B4F411AF5}" type="presParOf" srcId="{FE895929-526E-48A2-B0C9-921A114D2B79}" destId="{768C01FA-804B-48FF-88E9-5ECA807EE59E}" srcOrd="0" destOrd="0" presId="urn:microsoft.com/office/officeart/2005/8/layout/list1"/>
    <dgm:cxn modelId="{37ED7169-861B-4171-B7BF-2CF2EC4838F4}" type="presParOf" srcId="{768C01FA-804B-48FF-88E9-5ECA807EE59E}" destId="{FD81682C-402B-451B-A7C6-F1FA62C0CEA7}" srcOrd="0" destOrd="0" presId="urn:microsoft.com/office/officeart/2005/8/layout/list1"/>
    <dgm:cxn modelId="{92CAA331-6E5F-40A1-8E89-6E55FFFFCCE9}" type="presParOf" srcId="{768C01FA-804B-48FF-88E9-5ECA807EE59E}" destId="{1EBC1D9E-B1AF-4548-A40B-4DCE5454796A}" srcOrd="1" destOrd="0" presId="urn:microsoft.com/office/officeart/2005/8/layout/list1"/>
    <dgm:cxn modelId="{2D6D6392-F706-4003-94D9-4E418440053B}" type="presParOf" srcId="{FE895929-526E-48A2-B0C9-921A114D2B79}" destId="{9C3DAD6B-C04D-4A51-88E7-E8F2BDF4535C}" srcOrd="1" destOrd="0" presId="urn:microsoft.com/office/officeart/2005/8/layout/list1"/>
    <dgm:cxn modelId="{171C253A-4091-40FB-9289-05133F2743DF}" type="presParOf" srcId="{FE895929-526E-48A2-B0C9-921A114D2B79}" destId="{A4DEE548-0BA8-4ECC-BDCC-50BFD3A25E20}" srcOrd="2" destOrd="0" presId="urn:microsoft.com/office/officeart/2005/8/layout/list1"/>
    <dgm:cxn modelId="{88C9EF5D-8678-4672-94B1-EAFF55CDE98E}" type="presParOf" srcId="{FE895929-526E-48A2-B0C9-921A114D2B79}" destId="{2BC5E799-F9E6-4966-8778-9278F02C1944}" srcOrd="3" destOrd="0" presId="urn:microsoft.com/office/officeart/2005/8/layout/list1"/>
    <dgm:cxn modelId="{4195258A-F6DF-4637-8BA6-0874A81849D6}" type="presParOf" srcId="{FE895929-526E-48A2-B0C9-921A114D2B79}" destId="{8D2DBDDB-1F91-4A78-B762-F5E193E54A42}" srcOrd="4" destOrd="0" presId="urn:microsoft.com/office/officeart/2005/8/layout/list1"/>
    <dgm:cxn modelId="{644A4DA3-461F-45D7-A3DF-2EB5049F053C}" type="presParOf" srcId="{8D2DBDDB-1F91-4A78-B762-F5E193E54A42}" destId="{5FE92B61-5C4C-458B-A733-1481ACD34223}" srcOrd="0" destOrd="0" presId="urn:microsoft.com/office/officeart/2005/8/layout/list1"/>
    <dgm:cxn modelId="{27D5585B-1DB0-42CB-895C-63F5CF7679EC}" type="presParOf" srcId="{8D2DBDDB-1F91-4A78-B762-F5E193E54A42}" destId="{064DD5A9-75E5-4F02-AE6D-66ACE019AD94}" srcOrd="1" destOrd="0" presId="urn:microsoft.com/office/officeart/2005/8/layout/list1"/>
    <dgm:cxn modelId="{01B03206-91B2-41F0-B724-DE9E8D711F3C}" type="presParOf" srcId="{FE895929-526E-48A2-B0C9-921A114D2B79}" destId="{4D678655-A78E-4792-90DB-ECB1F1161D2D}" srcOrd="5" destOrd="0" presId="urn:microsoft.com/office/officeart/2005/8/layout/list1"/>
    <dgm:cxn modelId="{33D4A580-E5A5-488E-A11D-CA249CCD65B9}" type="presParOf" srcId="{FE895929-526E-48A2-B0C9-921A114D2B79}" destId="{6F88C06B-B6F7-4D90-B356-462CF06F7043}"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90A3B86F-1B89-49E2-A03A-732D79C6FA2C}" type="doc">
      <dgm:prSet loTypeId="urn:microsoft.com/office/officeart/2005/8/layout/list1" loCatId="list" qsTypeId="urn:microsoft.com/office/officeart/2005/8/quickstyle/simple1" qsCatId="simple" csTypeId="urn:microsoft.com/office/officeart/2005/8/colors/accent2_4" csCatId="accent2" phldr="1"/>
      <dgm:spPr/>
      <dgm:t>
        <a:bodyPr/>
        <a:lstStyle/>
        <a:p>
          <a:endParaRPr lang="en-GB"/>
        </a:p>
      </dgm:t>
    </dgm:pt>
    <dgm:pt modelId="{B852C51C-FF58-4759-B9B4-B19E49C1B586}">
      <dgm:prSet phldrT="[Text]" custT="1"/>
      <dgm:spPr>
        <a:solidFill>
          <a:srgbClr val="6980BC"/>
        </a:solidFill>
      </dgm:spPr>
      <dgm:t>
        <a:bodyPr/>
        <a:lstStyle/>
        <a:p>
          <a:r>
            <a:rPr lang="el-GR" sz="2000" b="1" dirty="0">
              <a:solidFill>
                <a:schemeClr val="bg1"/>
              </a:solidFill>
            </a:rPr>
            <a:t>Οφέλη δημιουργίας λογαριασμού στη Πύλη Δικαιούχων</a:t>
          </a:r>
          <a:endParaRPr lang="en-GB" sz="2000" b="1" dirty="0">
            <a:solidFill>
              <a:schemeClr val="bg1"/>
            </a:solidFill>
          </a:endParaRPr>
        </a:p>
      </dgm:t>
    </dgm:pt>
    <dgm:pt modelId="{D3B39EF6-92E6-4C10-9EF0-F332E9E6D852}" type="parTrans" cxnId="{C1E5E218-1F4D-4D6C-B686-373AA9A70C21}">
      <dgm:prSet/>
      <dgm:spPr/>
      <dgm:t>
        <a:bodyPr/>
        <a:lstStyle/>
        <a:p>
          <a:endParaRPr lang="en-GB"/>
        </a:p>
      </dgm:t>
    </dgm:pt>
    <dgm:pt modelId="{6E1629A5-BB94-4DF2-A620-A48A38A59045}" type="sibTrans" cxnId="{C1E5E218-1F4D-4D6C-B686-373AA9A70C21}">
      <dgm:prSet/>
      <dgm:spPr/>
      <dgm:t>
        <a:bodyPr/>
        <a:lstStyle/>
        <a:p>
          <a:endParaRPr lang="en-GB"/>
        </a:p>
      </dgm:t>
    </dgm:pt>
    <dgm:pt modelId="{E7133C70-2A6F-403D-8A70-5DB0895242BD}">
      <dgm:prSet phldrT="[Text]" custT="1"/>
      <dgm:spPr>
        <a:solidFill>
          <a:schemeClr val="accent6">
            <a:lumMod val="20000"/>
            <a:lumOff val="80000"/>
            <a:alpha val="90000"/>
          </a:schemeClr>
        </a:solidFill>
      </dgm:spPr>
      <dgm:t>
        <a:bodyPr/>
        <a:lstStyle/>
        <a:p>
          <a:r>
            <a:rPr lang="el-GR" sz="2600" b="0" dirty="0"/>
            <a:t>Εύκολη και γρήγορη εγγραφή στο ΓεΣΥ και στη λίστα  ΠΙ</a:t>
          </a:r>
          <a:endParaRPr lang="en-GB" sz="2600" b="0" dirty="0"/>
        </a:p>
      </dgm:t>
    </dgm:pt>
    <dgm:pt modelId="{4E0C09DB-56EC-44DF-AA04-E6F0CAFB9A28}" type="sibTrans" cxnId="{22E81D38-F7F6-41B7-A235-9B5FEEABDC42}">
      <dgm:prSet/>
      <dgm:spPr/>
      <dgm:t>
        <a:bodyPr/>
        <a:lstStyle/>
        <a:p>
          <a:endParaRPr lang="en-GB"/>
        </a:p>
      </dgm:t>
    </dgm:pt>
    <dgm:pt modelId="{11D607FD-2F79-4109-A026-1BCF803704E4}" type="parTrans" cxnId="{22E81D38-F7F6-41B7-A235-9B5FEEABDC42}">
      <dgm:prSet/>
      <dgm:spPr/>
      <dgm:t>
        <a:bodyPr/>
        <a:lstStyle/>
        <a:p>
          <a:endParaRPr lang="en-GB"/>
        </a:p>
      </dgm:t>
    </dgm:pt>
    <dgm:pt modelId="{68C052E3-6AE7-4EF0-B6D7-A89EBBEF4DFE}">
      <dgm:prSet phldrT="[Text]" custT="1"/>
      <dgm:spPr>
        <a:solidFill>
          <a:schemeClr val="accent6">
            <a:lumMod val="20000"/>
            <a:lumOff val="80000"/>
            <a:alpha val="90000"/>
          </a:schemeClr>
        </a:solidFill>
      </dgm:spPr>
      <dgm:t>
        <a:bodyPr/>
        <a:lstStyle/>
        <a:p>
          <a:r>
            <a:rPr lang="el-GR" sz="2600" b="0" dirty="0"/>
            <a:t>Αλλαγή ΠΙ </a:t>
          </a:r>
          <a:endParaRPr lang="en-GB" sz="2600" b="0" dirty="0"/>
        </a:p>
      </dgm:t>
    </dgm:pt>
    <dgm:pt modelId="{F320E45A-0AC0-47DF-956C-188A54BCCCB3}" type="parTrans" cxnId="{D15F5CF0-7F48-4654-B410-6FBCBC3CE767}">
      <dgm:prSet/>
      <dgm:spPr/>
      <dgm:t>
        <a:bodyPr/>
        <a:lstStyle/>
        <a:p>
          <a:endParaRPr lang="el-GR"/>
        </a:p>
      </dgm:t>
    </dgm:pt>
    <dgm:pt modelId="{BEB37CDB-08AE-44B0-82DC-C356B27F54F5}" type="sibTrans" cxnId="{D15F5CF0-7F48-4654-B410-6FBCBC3CE767}">
      <dgm:prSet/>
      <dgm:spPr/>
      <dgm:t>
        <a:bodyPr/>
        <a:lstStyle/>
        <a:p>
          <a:endParaRPr lang="el-GR"/>
        </a:p>
      </dgm:t>
    </dgm:pt>
    <dgm:pt modelId="{CD6E80A3-498B-4E95-B6D2-A24AAFE532F3}">
      <dgm:prSet phldrT="[Text]" custT="1"/>
      <dgm:spPr>
        <a:solidFill>
          <a:schemeClr val="accent6">
            <a:lumMod val="20000"/>
            <a:lumOff val="80000"/>
            <a:alpha val="90000"/>
          </a:schemeClr>
        </a:solidFill>
      </dgm:spPr>
      <dgm:t>
        <a:bodyPr/>
        <a:lstStyle/>
        <a:p>
          <a:r>
            <a:rPr lang="el-GR" sz="2600" b="0" dirty="0"/>
            <a:t>Δυνατότητα εγγραφής εξαρτωμένων και άλλων συγγενικών προσώπων μέσω του ίδιου λογαριασμού</a:t>
          </a:r>
          <a:endParaRPr lang="en-GB" sz="2600" b="0" dirty="0"/>
        </a:p>
      </dgm:t>
    </dgm:pt>
    <dgm:pt modelId="{86A02AFD-4790-43FE-9B1D-62072BE30F1D}" type="parTrans" cxnId="{93E5FDF0-48A3-447D-B603-0DA15482C85C}">
      <dgm:prSet/>
      <dgm:spPr/>
      <dgm:t>
        <a:bodyPr/>
        <a:lstStyle/>
        <a:p>
          <a:endParaRPr lang="el-GR"/>
        </a:p>
      </dgm:t>
    </dgm:pt>
    <dgm:pt modelId="{E0D37456-5F32-4266-A9E1-674E74309897}" type="sibTrans" cxnId="{93E5FDF0-48A3-447D-B603-0DA15482C85C}">
      <dgm:prSet/>
      <dgm:spPr/>
      <dgm:t>
        <a:bodyPr/>
        <a:lstStyle/>
        <a:p>
          <a:endParaRPr lang="el-GR"/>
        </a:p>
      </dgm:t>
    </dgm:pt>
    <dgm:pt modelId="{F6C18F67-621D-4EE8-8EF1-D0E14D1F14E1}">
      <dgm:prSet phldrT="[Text]" custT="1"/>
      <dgm:spPr>
        <a:solidFill>
          <a:schemeClr val="accent6">
            <a:lumMod val="20000"/>
            <a:lumOff val="80000"/>
            <a:alpha val="90000"/>
          </a:schemeClr>
        </a:solidFill>
      </dgm:spPr>
      <dgm:t>
        <a:bodyPr/>
        <a:lstStyle/>
        <a:p>
          <a:r>
            <a:rPr lang="el-GR" sz="2600" b="0" dirty="0"/>
            <a:t>Λήψη ειδοποιήσεων &amp; άλλων πληροφοριών  </a:t>
          </a:r>
          <a:endParaRPr lang="en-GB" sz="2600" b="0" dirty="0"/>
        </a:p>
      </dgm:t>
    </dgm:pt>
    <dgm:pt modelId="{F7D077F7-FE89-49E0-A51F-101FEFAA5614}" type="parTrans" cxnId="{2DF3E5D9-28AF-429C-A647-1123DCBEB63D}">
      <dgm:prSet/>
      <dgm:spPr/>
      <dgm:t>
        <a:bodyPr/>
        <a:lstStyle/>
        <a:p>
          <a:endParaRPr lang="el-GR"/>
        </a:p>
      </dgm:t>
    </dgm:pt>
    <dgm:pt modelId="{F16A258C-D0F7-4494-AB22-A9377BEEE456}" type="sibTrans" cxnId="{2DF3E5D9-28AF-429C-A647-1123DCBEB63D}">
      <dgm:prSet/>
      <dgm:spPr/>
      <dgm:t>
        <a:bodyPr/>
        <a:lstStyle/>
        <a:p>
          <a:endParaRPr lang="el-GR"/>
        </a:p>
      </dgm:t>
    </dgm:pt>
    <dgm:pt modelId="{6FDC817D-71D5-4639-B03E-F5B58F148491}">
      <dgm:prSet phldrT="[Text]" custT="1"/>
      <dgm:spPr>
        <a:solidFill>
          <a:schemeClr val="accent6">
            <a:lumMod val="20000"/>
            <a:lumOff val="80000"/>
            <a:alpha val="90000"/>
          </a:schemeClr>
        </a:solidFill>
      </dgm:spPr>
      <dgm:t>
        <a:bodyPr/>
        <a:lstStyle/>
        <a:p>
          <a:r>
            <a:rPr lang="el-GR" sz="2600" b="0" dirty="0"/>
            <a:t>Πρόσβαση στον προσωπικό «Ηλεκτρονικό Φάκελο Ασθενή» (ΗΦΑ)</a:t>
          </a:r>
          <a:endParaRPr lang="en-GB" sz="2600" b="0" dirty="0"/>
        </a:p>
      </dgm:t>
    </dgm:pt>
    <dgm:pt modelId="{9250149C-64D6-4F7B-BD08-83E31FE94ABE}" type="parTrans" cxnId="{23630049-3CF3-4B11-AC58-3BB1436F156A}">
      <dgm:prSet/>
      <dgm:spPr/>
      <dgm:t>
        <a:bodyPr/>
        <a:lstStyle/>
        <a:p>
          <a:endParaRPr lang="el-GR"/>
        </a:p>
      </dgm:t>
    </dgm:pt>
    <dgm:pt modelId="{8BED09BB-2CD3-40C7-92CA-196D99C90DC5}" type="sibTrans" cxnId="{23630049-3CF3-4B11-AC58-3BB1436F156A}">
      <dgm:prSet/>
      <dgm:spPr/>
      <dgm:t>
        <a:bodyPr/>
        <a:lstStyle/>
        <a:p>
          <a:endParaRPr lang="el-GR"/>
        </a:p>
      </dgm:t>
    </dgm:pt>
    <dgm:pt modelId="{89DC49BA-D2A7-4643-92B2-80CDB7670C1E}">
      <dgm:prSet phldrT="[Text]" custT="1"/>
      <dgm:spPr>
        <a:solidFill>
          <a:schemeClr val="accent6">
            <a:lumMod val="20000"/>
            <a:lumOff val="80000"/>
            <a:alpha val="90000"/>
          </a:schemeClr>
        </a:solidFill>
      </dgm:spPr>
      <dgm:t>
        <a:bodyPr/>
        <a:lstStyle/>
        <a:p>
          <a:r>
            <a:rPr lang="el-GR" sz="2600" b="0" dirty="0"/>
            <a:t>Δυνατότητα υποβολής ερωτήσεων ή/και παραπόνων</a:t>
          </a:r>
          <a:endParaRPr lang="en-GB" sz="2600" b="0" dirty="0"/>
        </a:p>
      </dgm:t>
    </dgm:pt>
    <dgm:pt modelId="{26A04483-314D-442D-9545-3FD74B11AAAB}" type="parTrans" cxnId="{2E6994C7-3CF1-4366-81CA-6D9F578BBD23}">
      <dgm:prSet/>
      <dgm:spPr/>
      <dgm:t>
        <a:bodyPr/>
        <a:lstStyle/>
        <a:p>
          <a:endParaRPr lang="el-GR"/>
        </a:p>
      </dgm:t>
    </dgm:pt>
    <dgm:pt modelId="{CA7ADEB0-AD3F-4FE6-B121-61AED17F2C82}" type="sibTrans" cxnId="{2E6994C7-3CF1-4366-81CA-6D9F578BBD23}">
      <dgm:prSet/>
      <dgm:spPr/>
      <dgm:t>
        <a:bodyPr/>
        <a:lstStyle/>
        <a:p>
          <a:endParaRPr lang="el-GR"/>
        </a:p>
      </dgm:t>
    </dgm:pt>
    <dgm:pt modelId="{EC9D0FF4-8843-418E-8630-8C06A78D67EE}">
      <dgm:prSet phldrT="[Text]" custT="1"/>
      <dgm:spPr>
        <a:solidFill>
          <a:schemeClr val="accent6">
            <a:lumMod val="20000"/>
            <a:lumOff val="80000"/>
            <a:alpha val="90000"/>
          </a:schemeClr>
        </a:solidFill>
      </dgm:spPr>
      <dgm:t>
        <a:bodyPr/>
        <a:lstStyle/>
        <a:p>
          <a:endParaRPr lang="en-GB" sz="2600" dirty="0"/>
        </a:p>
      </dgm:t>
    </dgm:pt>
    <dgm:pt modelId="{DA23ABB2-DC05-4359-A3A3-2CEBA91F584E}" type="parTrans" cxnId="{71046319-447B-493D-B233-7D5504F71644}">
      <dgm:prSet/>
      <dgm:spPr/>
      <dgm:t>
        <a:bodyPr/>
        <a:lstStyle/>
        <a:p>
          <a:endParaRPr lang="el-GR"/>
        </a:p>
      </dgm:t>
    </dgm:pt>
    <dgm:pt modelId="{8C5D4203-BD1C-45EB-9C45-65C8554D21AE}" type="sibTrans" cxnId="{71046319-447B-493D-B233-7D5504F71644}">
      <dgm:prSet/>
      <dgm:spPr/>
      <dgm:t>
        <a:bodyPr/>
        <a:lstStyle/>
        <a:p>
          <a:endParaRPr lang="el-GR"/>
        </a:p>
      </dgm:t>
    </dgm:pt>
    <dgm:pt modelId="{7509F7D9-2109-4FC9-8557-57097341C4D0}">
      <dgm:prSet phldrT="[Text]" custT="1"/>
      <dgm:spPr>
        <a:solidFill>
          <a:schemeClr val="accent6">
            <a:lumMod val="20000"/>
            <a:lumOff val="80000"/>
            <a:alpha val="90000"/>
          </a:schemeClr>
        </a:solidFill>
      </dgm:spPr>
      <dgm:t>
        <a:bodyPr/>
        <a:lstStyle/>
        <a:p>
          <a:r>
            <a:rPr lang="el-GR" sz="2600" b="0" dirty="0"/>
            <a:t>Δυνατότητα αλλαγής των στοιχείων που αφορούν στο δικαιούχο </a:t>
          </a:r>
          <a:endParaRPr lang="en-GB" sz="2600" b="0" dirty="0"/>
        </a:p>
      </dgm:t>
    </dgm:pt>
    <dgm:pt modelId="{BA487688-15D0-41EE-A933-764F855C6149}" type="parTrans" cxnId="{D901F732-EF86-4E67-AB78-222799CF011C}">
      <dgm:prSet/>
      <dgm:spPr/>
      <dgm:t>
        <a:bodyPr/>
        <a:lstStyle/>
        <a:p>
          <a:endParaRPr lang="el-GR"/>
        </a:p>
      </dgm:t>
    </dgm:pt>
    <dgm:pt modelId="{0C12A500-998D-40AE-AAD5-4D90DD9935D3}" type="sibTrans" cxnId="{D901F732-EF86-4E67-AB78-222799CF011C}">
      <dgm:prSet/>
      <dgm:spPr/>
      <dgm:t>
        <a:bodyPr/>
        <a:lstStyle/>
        <a:p>
          <a:endParaRPr lang="el-GR"/>
        </a:p>
      </dgm:t>
    </dgm:pt>
    <dgm:pt modelId="{FE895929-526E-48A2-B0C9-921A114D2B79}" type="pres">
      <dgm:prSet presAssocID="{90A3B86F-1B89-49E2-A03A-732D79C6FA2C}" presName="linear" presStyleCnt="0">
        <dgm:presLayoutVars>
          <dgm:dir/>
          <dgm:animLvl val="lvl"/>
          <dgm:resizeHandles val="exact"/>
        </dgm:presLayoutVars>
      </dgm:prSet>
      <dgm:spPr/>
    </dgm:pt>
    <dgm:pt modelId="{18FDF286-5C04-4AB2-A61D-57D074DB730B}" type="pres">
      <dgm:prSet presAssocID="{B852C51C-FF58-4759-B9B4-B19E49C1B586}" presName="parentLin" presStyleCnt="0"/>
      <dgm:spPr/>
    </dgm:pt>
    <dgm:pt modelId="{BB2631D8-A884-455F-994E-75F4EAA355BE}" type="pres">
      <dgm:prSet presAssocID="{B852C51C-FF58-4759-B9B4-B19E49C1B586}" presName="parentLeftMargin" presStyleLbl="node1" presStyleIdx="0" presStyleCnt="1"/>
      <dgm:spPr/>
    </dgm:pt>
    <dgm:pt modelId="{BF8B7000-A51B-4F51-A772-501A4DB964BB}" type="pres">
      <dgm:prSet presAssocID="{B852C51C-FF58-4759-B9B4-B19E49C1B586}" presName="parentText" presStyleLbl="node1" presStyleIdx="0" presStyleCnt="1" custScaleX="133180" custScaleY="457878" custLinFactX="-379" custLinFactY="-28690" custLinFactNeighborX="-100000" custLinFactNeighborY="-100000">
        <dgm:presLayoutVars>
          <dgm:chMax val="0"/>
          <dgm:bulletEnabled val="1"/>
        </dgm:presLayoutVars>
      </dgm:prSet>
      <dgm:spPr/>
    </dgm:pt>
    <dgm:pt modelId="{476089C3-D3D7-44ED-A694-9521C95FD0E0}" type="pres">
      <dgm:prSet presAssocID="{B852C51C-FF58-4759-B9B4-B19E49C1B586}" presName="negativeSpace" presStyleCnt="0"/>
      <dgm:spPr/>
    </dgm:pt>
    <dgm:pt modelId="{E2FBD992-35E0-4F6B-881F-0407213D2633}" type="pres">
      <dgm:prSet presAssocID="{B852C51C-FF58-4759-B9B4-B19E49C1B586}" presName="childText" presStyleLbl="conFgAcc1" presStyleIdx="0" presStyleCnt="1" custScaleY="1799555" custLinFactY="91170" custLinFactNeighborX="-707" custLinFactNeighborY="100000">
        <dgm:presLayoutVars>
          <dgm:bulletEnabled val="1"/>
        </dgm:presLayoutVars>
      </dgm:prSet>
      <dgm:spPr/>
    </dgm:pt>
  </dgm:ptLst>
  <dgm:cxnLst>
    <dgm:cxn modelId="{C1E5E218-1F4D-4D6C-B686-373AA9A70C21}" srcId="{90A3B86F-1B89-49E2-A03A-732D79C6FA2C}" destId="{B852C51C-FF58-4759-B9B4-B19E49C1B586}" srcOrd="0" destOrd="0" parTransId="{D3B39EF6-92E6-4C10-9EF0-F332E9E6D852}" sibTransId="{6E1629A5-BB94-4DF2-A620-A48A38A59045}"/>
    <dgm:cxn modelId="{71046319-447B-493D-B233-7D5504F71644}" srcId="{B852C51C-FF58-4759-B9B4-B19E49C1B586}" destId="{EC9D0FF4-8843-418E-8630-8C06A78D67EE}" srcOrd="7" destOrd="0" parTransId="{DA23ABB2-DC05-4359-A3A3-2CEBA91F584E}" sibTransId="{8C5D4203-BD1C-45EB-9C45-65C8554D21AE}"/>
    <dgm:cxn modelId="{182D7A2A-0FF9-4D95-922C-FAEA78D3714D}" type="presOf" srcId="{89DC49BA-D2A7-4643-92B2-80CDB7670C1E}" destId="{E2FBD992-35E0-4F6B-881F-0407213D2633}" srcOrd="0" destOrd="6" presId="urn:microsoft.com/office/officeart/2005/8/layout/list1"/>
    <dgm:cxn modelId="{D901F732-EF86-4E67-AB78-222799CF011C}" srcId="{B852C51C-FF58-4759-B9B4-B19E49C1B586}" destId="{7509F7D9-2109-4FC9-8557-57097341C4D0}" srcOrd="2" destOrd="0" parTransId="{BA487688-15D0-41EE-A933-764F855C6149}" sibTransId="{0C12A500-998D-40AE-AAD5-4D90DD9935D3}"/>
    <dgm:cxn modelId="{D89E1738-1CB6-4E9E-B3E2-54427F8A1E82}" type="presOf" srcId="{F6C18F67-621D-4EE8-8EF1-D0E14D1F14E1}" destId="{E2FBD992-35E0-4F6B-881F-0407213D2633}" srcOrd="0" destOrd="4" presId="urn:microsoft.com/office/officeart/2005/8/layout/list1"/>
    <dgm:cxn modelId="{22E81D38-F7F6-41B7-A235-9B5FEEABDC42}" srcId="{B852C51C-FF58-4759-B9B4-B19E49C1B586}" destId="{E7133C70-2A6F-403D-8A70-5DB0895242BD}" srcOrd="0" destOrd="0" parTransId="{11D607FD-2F79-4109-A026-1BCF803704E4}" sibTransId="{4E0C09DB-56EC-44DF-AA04-E6F0CAFB9A28}"/>
    <dgm:cxn modelId="{489CA938-CF39-4482-9206-FC0AED819EFE}" type="presOf" srcId="{CD6E80A3-498B-4E95-B6D2-A24AAFE532F3}" destId="{E2FBD992-35E0-4F6B-881F-0407213D2633}" srcOrd="0" destOrd="1" presId="urn:microsoft.com/office/officeart/2005/8/layout/list1"/>
    <dgm:cxn modelId="{2BF5363A-0BB8-47DF-B9D8-AB838E71A6A9}" type="presOf" srcId="{EC9D0FF4-8843-418E-8630-8C06A78D67EE}" destId="{E2FBD992-35E0-4F6B-881F-0407213D2633}" srcOrd="0" destOrd="7" presId="urn:microsoft.com/office/officeart/2005/8/layout/list1"/>
    <dgm:cxn modelId="{23630049-3CF3-4B11-AC58-3BB1436F156A}" srcId="{B852C51C-FF58-4759-B9B4-B19E49C1B586}" destId="{6FDC817D-71D5-4639-B03E-F5B58F148491}" srcOrd="5" destOrd="0" parTransId="{9250149C-64D6-4F7B-BD08-83E31FE94ABE}" sibTransId="{8BED09BB-2CD3-40C7-92CA-196D99C90DC5}"/>
    <dgm:cxn modelId="{4F78EF6D-824F-46AE-A42C-1056243926A9}" type="presOf" srcId="{B852C51C-FF58-4759-B9B4-B19E49C1B586}" destId="{BB2631D8-A884-455F-994E-75F4EAA355BE}" srcOrd="0" destOrd="0" presId="urn:microsoft.com/office/officeart/2005/8/layout/list1"/>
    <dgm:cxn modelId="{9C3D5478-9B26-409E-80D3-8E1CC97E4E1A}" type="presOf" srcId="{68C052E3-6AE7-4EF0-B6D7-A89EBBEF4DFE}" destId="{E2FBD992-35E0-4F6B-881F-0407213D2633}" srcOrd="0" destOrd="3" presId="urn:microsoft.com/office/officeart/2005/8/layout/list1"/>
    <dgm:cxn modelId="{9A9C4783-E040-4101-BA4A-BF75682243C4}" type="presOf" srcId="{6FDC817D-71D5-4639-B03E-F5B58F148491}" destId="{E2FBD992-35E0-4F6B-881F-0407213D2633}" srcOrd="0" destOrd="5" presId="urn:microsoft.com/office/officeart/2005/8/layout/list1"/>
    <dgm:cxn modelId="{3AA3CB90-9D57-4754-8301-CE0573E69AE1}" type="presOf" srcId="{E7133C70-2A6F-403D-8A70-5DB0895242BD}" destId="{E2FBD992-35E0-4F6B-881F-0407213D2633}" srcOrd="0" destOrd="0" presId="urn:microsoft.com/office/officeart/2005/8/layout/list1"/>
    <dgm:cxn modelId="{6CC4EDA7-6247-4B47-9AC0-A98CB8DCF8E9}" type="presOf" srcId="{7509F7D9-2109-4FC9-8557-57097341C4D0}" destId="{E2FBD992-35E0-4F6B-881F-0407213D2633}" srcOrd="0" destOrd="2" presId="urn:microsoft.com/office/officeart/2005/8/layout/list1"/>
    <dgm:cxn modelId="{CA26E1C5-7011-466F-9527-464BBCB5E125}" type="presOf" srcId="{90A3B86F-1B89-49E2-A03A-732D79C6FA2C}" destId="{FE895929-526E-48A2-B0C9-921A114D2B79}" srcOrd="0" destOrd="0" presId="urn:microsoft.com/office/officeart/2005/8/layout/list1"/>
    <dgm:cxn modelId="{2E6994C7-3CF1-4366-81CA-6D9F578BBD23}" srcId="{B852C51C-FF58-4759-B9B4-B19E49C1B586}" destId="{89DC49BA-D2A7-4643-92B2-80CDB7670C1E}" srcOrd="6" destOrd="0" parTransId="{26A04483-314D-442D-9545-3FD74B11AAAB}" sibTransId="{CA7ADEB0-AD3F-4FE6-B121-61AED17F2C82}"/>
    <dgm:cxn modelId="{2DF3E5D9-28AF-429C-A647-1123DCBEB63D}" srcId="{B852C51C-FF58-4759-B9B4-B19E49C1B586}" destId="{F6C18F67-621D-4EE8-8EF1-D0E14D1F14E1}" srcOrd="4" destOrd="0" parTransId="{F7D077F7-FE89-49E0-A51F-101FEFAA5614}" sibTransId="{F16A258C-D0F7-4494-AB22-A9377BEEE456}"/>
    <dgm:cxn modelId="{3CE6A6EB-94AF-4A6B-A505-B7CFE4B535D9}" type="presOf" srcId="{B852C51C-FF58-4759-B9B4-B19E49C1B586}" destId="{BF8B7000-A51B-4F51-A772-501A4DB964BB}" srcOrd="1" destOrd="0" presId="urn:microsoft.com/office/officeart/2005/8/layout/list1"/>
    <dgm:cxn modelId="{D15F5CF0-7F48-4654-B410-6FBCBC3CE767}" srcId="{B852C51C-FF58-4759-B9B4-B19E49C1B586}" destId="{68C052E3-6AE7-4EF0-B6D7-A89EBBEF4DFE}" srcOrd="3" destOrd="0" parTransId="{F320E45A-0AC0-47DF-956C-188A54BCCCB3}" sibTransId="{BEB37CDB-08AE-44B0-82DC-C356B27F54F5}"/>
    <dgm:cxn modelId="{93E5FDF0-48A3-447D-B603-0DA15482C85C}" srcId="{B852C51C-FF58-4759-B9B4-B19E49C1B586}" destId="{CD6E80A3-498B-4E95-B6D2-A24AAFE532F3}" srcOrd="1" destOrd="0" parTransId="{86A02AFD-4790-43FE-9B1D-62072BE30F1D}" sibTransId="{E0D37456-5F32-4266-A9E1-674E74309897}"/>
    <dgm:cxn modelId="{C00A8F43-5A3A-40E3-AFB1-BEC7D26C730C}" type="presParOf" srcId="{FE895929-526E-48A2-B0C9-921A114D2B79}" destId="{18FDF286-5C04-4AB2-A61D-57D074DB730B}" srcOrd="0" destOrd="0" presId="urn:microsoft.com/office/officeart/2005/8/layout/list1"/>
    <dgm:cxn modelId="{19A7FC3C-E938-4996-A863-9A943680362D}" type="presParOf" srcId="{18FDF286-5C04-4AB2-A61D-57D074DB730B}" destId="{BB2631D8-A884-455F-994E-75F4EAA355BE}" srcOrd="0" destOrd="0" presId="urn:microsoft.com/office/officeart/2005/8/layout/list1"/>
    <dgm:cxn modelId="{2CD08F25-57B3-41C3-8C15-277451E34D06}" type="presParOf" srcId="{18FDF286-5C04-4AB2-A61D-57D074DB730B}" destId="{BF8B7000-A51B-4F51-A772-501A4DB964BB}" srcOrd="1" destOrd="0" presId="urn:microsoft.com/office/officeart/2005/8/layout/list1"/>
    <dgm:cxn modelId="{C9489F3A-2BA6-418F-B094-458A7B144B72}" type="presParOf" srcId="{FE895929-526E-48A2-B0C9-921A114D2B79}" destId="{476089C3-D3D7-44ED-A694-9521C95FD0E0}" srcOrd="1" destOrd="0" presId="urn:microsoft.com/office/officeart/2005/8/layout/list1"/>
    <dgm:cxn modelId="{F8E3FBEC-4DC6-4CE8-9D1F-7BCBD454D83B}" type="presParOf" srcId="{FE895929-526E-48A2-B0C9-921A114D2B79}" destId="{E2FBD992-35E0-4F6B-881F-0407213D2633}"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95D347F4-A4D4-4D6E-A9DC-4C9A270C5D75}" type="doc">
      <dgm:prSet loTypeId="urn:microsoft.com/office/officeart/2005/8/layout/vList5" loCatId="list" qsTypeId="urn:microsoft.com/office/officeart/2005/8/quickstyle/simple4" qsCatId="simple" csTypeId="urn:microsoft.com/office/officeart/2005/8/colors/accent2_2" csCatId="accent2" phldr="1"/>
      <dgm:spPr/>
      <dgm:t>
        <a:bodyPr/>
        <a:lstStyle/>
        <a:p>
          <a:endParaRPr lang="el-GR"/>
        </a:p>
      </dgm:t>
    </dgm:pt>
    <dgm:pt modelId="{E1C18194-DBF0-400A-877C-7C1DD19D57A6}">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6"/>
        </a:solidFill>
      </dgm:spPr>
      <dgm:t>
        <a:bodyPr/>
        <a:lstStyle/>
        <a:p>
          <a:r>
            <a:rPr lang="el-GR" sz="2400" b="1" dirty="0"/>
            <a:t>Τέλος  2018</a:t>
          </a:r>
        </a:p>
      </dgm:t>
    </dgm:pt>
    <dgm:pt modelId="{421B2295-9F07-4B0E-AB13-96FA98966EB2}" type="parTrans" cxnId="{A8FD41D6-9637-484E-8C6D-6F24C1761CAC}">
      <dgm:prSet/>
      <dgm:spPr/>
      <dgm:t>
        <a:bodyPr/>
        <a:lstStyle/>
        <a:p>
          <a:endParaRPr lang="el-GR"/>
        </a:p>
      </dgm:t>
    </dgm:pt>
    <dgm:pt modelId="{F6913EE8-07A5-4B72-BFFB-A91C5273E1A2}" type="sibTrans" cxnId="{A8FD41D6-9637-484E-8C6D-6F24C1761CAC}">
      <dgm:prSet/>
      <dgm:spPr/>
      <dgm:t>
        <a:bodyPr/>
        <a:lstStyle/>
        <a:p>
          <a:endParaRPr lang="el-GR"/>
        </a:p>
      </dgm:t>
    </dgm:pt>
    <dgm:pt modelId="{306EFB24-B29C-455A-8872-AFBD2AED28D4}">
      <dgm:prSet phldrT="[Text]" custT="1"/>
      <dgm:spPr/>
      <dgm:t>
        <a:bodyPr/>
        <a:lstStyle/>
        <a:p>
          <a:pPr algn="l"/>
          <a:r>
            <a:rPr lang="el-GR" sz="1600" dirty="0"/>
            <a:t>Παραλαβή του 1</a:t>
          </a:r>
          <a:r>
            <a:rPr lang="el-GR" sz="1600" baseline="30000" dirty="0"/>
            <a:t>ου</a:t>
          </a:r>
          <a:r>
            <a:rPr lang="el-GR" sz="1600" dirty="0"/>
            <a:t> μέρους του Συστήματος Πληροφορικής</a:t>
          </a:r>
          <a:r>
            <a:rPr lang="en-US" sz="1600" dirty="0"/>
            <a:t>:</a:t>
          </a:r>
          <a:endParaRPr lang="el-GR" sz="1600" dirty="0"/>
        </a:p>
      </dgm:t>
    </dgm:pt>
    <dgm:pt modelId="{BE09A9C9-9FCF-449C-85D0-C6051EC43B8B}" type="parTrans" cxnId="{03E02202-94E2-42AB-9305-04422270DEE3}">
      <dgm:prSet/>
      <dgm:spPr/>
      <dgm:t>
        <a:bodyPr/>
        <a:lstStyle/>
        <a:p>
          <a:endParaRPr lang="el-GR"/>
        </a:p>
      </dgm:t>
    </dgm:pt>
    <dgm:pt modelId="{4A013D77-7D5A-4992-810F-3206F3893A04}" type="sibTrans" cxnId="{03E02202-94E2-42AB-9305-04422270DEE3}">
      <dgm:prSet/>
      <dgm:spPr/>
      <dgm:t>
        <a:bodyPr/>
        <a:lstStyle/>
        <a:p>
          <a:endParaRPr lang="el-GR"/>
        </a:p>
      </dgm:t>
    </dgm:pt>
    <dgm:pt modelId="{66E726E1-D6E8-4EA6-BB72-D06AB5CE1DDE}">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6"/>
        </a:solidFill>
      </dgm:spPr>
      <dgm:t>
        <a:bodyPr/>
        <a:lstStyle/>
        <a:p>
          <a:r>
            <a:rPr lang="el-GR" sz="2400" b="1" dirty="0"/>
            <a:t>Μάρτιος  </a:t>
          </a:r>
        </a:p>
        <a:p>
          <a:r>
            <a:rPr lang="el-GR" sz="2400" b="1" dirty="0"/>
            <a:t>2019</a:t>
          </a:r>
        </a:p>
      </dgm:t>
    </dgm:pt>
    <dgm:pt modelId="{16ADC769-0A1B-4B96-BBEE-A61C0DC70008}" type="parTrans" cxnId="{5AC615DD-7E8F-424D-ABBE-CCA3095CE5D7}">
      <dgm:prSet/>
      <dgm:spPr/>
      <dgm:t>
        <a:bodyPr/>
        <a:lstStyle/>
        <a:p>
          <a:endParaRPr lang="el-GR"/>
        </a:p>
      </dgm:t>
    </dgm:pt>
    <dgm:pt modelId="{19409B6A-4F04-4BBF-BCC1-1A67BC78600D}" type="sibTrans" cxnId="{5AC615DD-7E8F-424D-ABBE-CCA3095CE5D7}">
      <dgm:prSet/>
      <dgm:spPr/>
      <dgm:t>
        <a:bodyPr/>
        <a:lstStyle/>
        <a:p>
          <a:endParaRPr lang="el-GR"/>
        </a:p>
      </dgm:t>
    </dgm:pt>
    <dgm:pt modelId="{E272FE20-D824-45FF-9CBE-57573256AB05}">
      <dgm:prSet phldrT="[Text]" custT="1"/>
      <dgm:spPr/>
      <dgm:t>
        <a:bodyPr/>
        <a:lstStyle/>
        <a:p>
          <a:r>
            <a:rPr lang="el-GR" sz="1600" dirty="0"/>
            <a:t>Συλλογή εισφορών για την 1</a:t>
          </a:r>
          <a:r>
            <a:rPr lang="el-GR" sz="1600" baseline="30000" dirty="0"/>
            <a:t>η</a:t>
          </a:r>
          <a:r>
            <a:rPr lang="el-GR" sz="1600" dirty="0"/>
            <a:t> φάση</a:t>
          </a:r>
        </a:p>
      </dgm:t>
    </dgm:pt>
    <dgm:pt modelId="{C37A27AF-05A4-446D-8E1C-ED1E2791FB2E}" type="parTrans" cxnId="{2B27CDA9-0C6C-408A-9546-6555BDAB3A5C}">
      <dgm:prSet/>
      <dgm:spPr/>
      <dgm:t>
        <a:bodyPr/>
        <a:lstStyle/>
        <a:p>
          <a:endParaRPr lang="el-GR"/>
        </a:p>
      </dgm:t>
    </dgm:pt>
    <dgm:pt modelId="{5C9C8D9C-531F-444F-BAE2-C27E6371CFEF}" type="sibTrans" cxnId="{2B27CDA9-0C6C-408A-9546-6555BDAB3A5C}">
      <dgm:prSet/>
      <dgm:spPr/>
      <dgm:t>
        <a:bodyPr/>
        <a:lstStyle/>
        <a:p>
          <a:endParaRPr lang="el-GR"/>
        </a:p>
      </dgm:t>
    </dgm:pt>
    <dgm:pt modelId="{6683721C-E6F3-4B5C-91F3-B6FCA093BE99}">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6"/>
        </a:solidFill>
      </dgm:spPr>
      <dgm:t>
        <a:bodyPr/>
        <a:lstStyle/>
        <a:p>
          <a:r>
            <a:rPr lang="el-GR" sz="2400" b="1" dirty="0"/>
            <a:t>Ιούνιος </a:t>
          </a:r>
        </a:p>
        <a:p>
          <a:r>
            <a:rPr lang="el-GR" sz="2400" b="1" dirty="0"/>
            <a:t>2020</a:t>
          </a:r>
        </a:p>
      </dgm:t>
    </dgm:pt>
    <dgm:pt modelId="{BDFF1CF5-BB53-410C-86AD-40E9DBEC883E}" type="parTrans" cxnId="{1CE1ACF2-627C-4D93-8CA2-396EE1A970B4}">
      <dgm:prSet/>
      <dgm:spPr/>
      <dgm:t>
        <a:bodyPr/>
        <a:lstStyle/>
        <a:p>
          <a:endParaRPr lang="el-GR"/>
        </a:p>
      </dgm:t>
    </dgm:pt>
    <dgm:pt modelId="{606C9869-234E-4BFE-85A3-781B4579716D}" type="sibTrans" cxnId="{1CE1ACF2-627C-4D93-8CA2-396EE1A970B4}">
      <dgm:prSet/>
      <dgm:spPr/>
      <dgm:t>
        <a:bodyPr/>
        <a:lstStyle/>
        <a:p>
          <a:endParaRPr lang="el-GR"/>
        </a:p>
      </dgm:t>
    </dgm:pt>
    <dgm:pt modelId="{507BD9A4-F3D4-4913-9BAE-10A8075850E1}">
      <dgm:prSet phldrT="[Text]" custT="1"/>
      <dgm:spPr/>
      <dgm:t>
        <a:bodyPr/>
        <a:lstStyle/>
        <a:p>
          <a:r>
            <a:rPr lang="el-GR" sz="1600" dirty="0"/>
            <a:t>Έναρξη 2</a:t>
          </a:r>
          <a:r>
            <a:rPr lang="el-GR" sz="1600" baseline="30000" dirty="0"/>
            <a:t>ης </a:t>
          </a:r>
          <a:r>
            <a:rPr lang="el-GR" sz="1600" dirty="0"/>
            <a:t>φάσης</a:t>
          </a:r>
        </a:p>
      </dgm:t>
    </dgm:pt>
    <dgm:pt modelId="{E4AB6F4C-5BFC-4482-8894-349C4B81340C}" type="parTrans" cxnId="{93C71AC2-E38C-419B-98D5-22632C85B91B}">
      <dgm:prSet/>
      <dgm:spPr/>
      <dgm:t>
        <a:bodyPr/>
        <a:lstStyle/>
        <a:p>
          <a:endParaRPr lang="el-GR"/>
        </a:p>
      </dgm:t>
    </dgm:pt>
    <dgm:pt modelId="{7ECA31D0-E493-4B8D-B083-1203BEFEAAC5}" type="sibTrans" cxnId="{93C71AC2-E38C-419B-98D5-22632C85B91B}">
      <dgm:prSet/>
      <dgm:spPr/>
      <dgm:t>
        <a:bodyPr/>
        <a:lstStyle/>
        <a:p>
          <a:endParaRPr lang="el-GR"/>
        </a:p>
      </dgm:t>
    </dgm:pt>
    <dgm:pt modelId="{29221320-EA74-4C5E-B96E-E4CFF4B098B8}">
      <dgm:prSet phldrT="[Text]" custT="1"/>
      <dgm:spPr/>
      <dgm:t>
        <a:bodyPr/>
        <a:lstStyle/>
        <a:p>
          <a:r>
            <a:rPr lang="el-GR" sz="1600" dirty="0"/>
            <a:t>Πλήρης εφαρμογή του ΓεΣΥ</a:t>
          </a:r>
        </a:p>
      </dgm:t>
    </dgm:pt>
    <dgm:pt modelId="{5BB9471F-306B-442D-BC1D-8E1B3EC39C2A}" type="parTrans" cxnId="{1240669A-AA4F-4DA9-836D-A6F0C41A2149}">
      <dgm:prSet/>
      <dgm:spPr/>
      <dgm:t>
        <a:bodyPr/>
        <a:lstStyle/>
        <a:p>
          <a:endParaRPr lang="en-GB"/>
        </a:p>
      </dgm:t>
    </dgm:pt>
    <dgm:pt modelId="{F4D4B4CD-27FF-446C-AC7A-1B7457B57377}" type="sibTrans" cxnId="{1240669A-AA4F-4DA9-836D-A6F0C41A2149}">
      <dgm:prSet/>
      <dgm:spPr/>
      <dgm:t>
        <a:bodyPr/>
        <a:lstStyle/>
        <a:p>
          <a:endParaRPr lang="en-GB"/>
        </a:p>
      </dgm:t>
    </dgm:pt>
    <dgm:pt modelId="{533F548A-B923-4D35-82E3-9698645B8516}">
      <dgm:prSet phldrT="[Text]" custT="1"/>
      <dgm:spPr/>
      <dgm:t>
        <a:bodyPr/>
        <a:lstStyle/>
        <a:p>
          <a:pPr algn="l"/>
          <a:r>
            <a:rPr lang="el-GR" sz="1600" dirty="0"/>
            <a:t>Εγγραφή παροχέων φροντίδας υγείας</a:t>
          </a:r>
        </a:p>
      </dgm:t>
    </dgm:pt>
    <dgm:pt modelId="{171E862E-04B1-489A-8710-9F36DEEE0B19}" type="parTrans" cxnId="{A283AF77-6AB8-40DF-9A42-291186C5BCF2}">
      <dgm:prSet/>
      <dgm:spPr/>
      <dgm:t>
        <a:bodyPr/>
        <a:lstStyle/>
        <a:p>
          <a:endParaRPr lang="en-GB"/>
        </a:p>
      </dgm:t>
    </dgm:pt>
    <dgm:pt modelId="{DF2FF5DF-8496-47C5-97E1-DCF8779C0962}" type="sibTrans" cxnId="{A283AF77-6AB8-40DF-9A42-291186C5BCF2}">
      <dgm:prSet/>
      <dgm:spPr/>
      <dgm:t>
        <a:bodyPr/>
        <a:lstStyle/>
        <a:p>
          <a:endParaRPr lang="en-GB"/>
        </a:p>
      </dgm:t>
    </dgm:pt>
    <dgm:pt modelId="{3DA57C8F-2074-4DB0-9FC7-E8FF51D49A3B}">
      <dgm:prSet phldrT="[Text]" custT="1"/>
      <dgm:spPr/>
      <dgm:t>
        <a:bodyPr/>
        <a:lstStyle/>
        <a:p>
          <a:pPr algn="l"/>
          <a:r>
            <a:rPr lang="el-GR" sz="1600" dirty="0">
              <a:solidFill>
                <a:schemeClr val="tx1"/>
              </a:solidFill>
            </a:rPr>
            <a:t>Εγγραφή δικαιούχων</a:t>
          </a:r>
        </a:p>
      </dgm:t>
    </dgm:pt>
    <dgm:pt modelId="{077BF70C-2C90-4D30-B926-E667B0C52522}" type="parTrans" cxnId="{20D4F2C9-51A6-40A4-8F29-33FFE831A3FF}">
      <dgm:prSet/>
      <dgm:spPr/>
      <dgm:t>
        <a:bodyPr/>
        <a:lstStyle/>
        <a:p>
          <a:endParaRPr lang="en-GB"/>
        </a:p>
      </dgm:t>
    </dgm:pt>
    <dgm:pt modelId="{09B46EEB-915C-49A0-BC40-698D29AB44CA}" type="sibTrans" cxnId="{20D4F2C9-51A6-40A4-8F29-33FFE831A3FF}">
      <dgm:prSet/>
      <dgm:spPr/>
      <dgm:t>
        <a:bodyPr/>
        <a:lstStyle/>
        <a:p>
          <a:endParaRPr lang="en-GB"/>
        </a:p>
      </dgm:t>
    </dgm:pt>
    <dgm:pt modelId="{00639BF1-A174-4706-8B13-565B59B99396}">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6"/>
        </a:solidFill>
      </dgm:spPr>
      <dgm:t>
        <a:bodyPr/>
        <a:lstStyle/>
        <a:p>
          <a:r>
            <a:rPr lang="el-GR" sz="2400" b="1" dirty="0"/>
            <a:t>Ιούνιος  </a:t>
          </a:r>
        </a:p>
        <a:p>
          <a:r>
            <a:rPr lang="el-GR" sz="2400" b="1" dirty="0"/>
            <a:t>2019</a:t>
          </a:r>
        </a:p>
      </dgm:t>
    </dgm:pt>
    <dgm:pt modelId="{21C9ECA0-2A19-4F53-8D5D-A375402C7AE4}" type="parTrans" cxnId="{14F8DD88-D843-45BA-8D31-474A7C9CBBEA}">
      <dgm:prSet/>
      <dgm:spPr/>
      <dgm:t>
        <a:bodyPr/>
        <a:lstStyle/>
        <a:p>
          <a:endParaRPr lang="el-GR"/>
        </a:p>
      </dgm:t>
    </dgm:pt>
    <dgm:pt modelId="{D702E3A3-92DA-4B59-9504-402452AEBB0F}" type="sibTrans" cxnId="{14F8DD88-D843-45BA-8D31-474A7C9CBBEA}">
      <dgm:prSet/>
      <dgm:spPr/>
      <dgm:t>
        <a:bodyPr/>
        <a:lstStyle/>
        <a:p>
          <a:endParaRPr lang="el-GR"/>
        </a:p>
      </dgm:t>
    </dgm:pt>
    <dgm:pt modelId="{4BF35D4F-E76F-4A00-8DB0-3F53CCE8D37A}">
      <dgm:prSet phldrT="[Text]"/>
      <dgm:spPr/>
      <dgm:t>
        <a:bodyPr/>
        <a:lstStyle/>
        <a:p>
          <a:r>
            <a:rPr lang="el-GR" dirty="0"/>
            <a:t>Έναρξη της 1</a:t>
          </a:r>
          <a:r>
            <a:rPr lang="el-GR" baseline="30000" dirty="0"/>
            <a:t>ης</a:t>
          </a:r>
          <a:r>
            <a:rPr lang="el-GR" dirty="0"/>
            <a:t> φάσης</a:t>
          </a:r>
        </a:p>
      </dgm:t>
    </dgm:pt>
    <dgm:pt modelId="{F838068F-004E-479C-AB2E-4289F2EB17F8}" type="parTrans" cxnId="{700E90E1-D0EB-4E61-8E31-DBD72EF790F1}">
      <dgm:prSet/>
      <dgm:spPr/>
      <dgm:t>
        <a:bodyPr/>
        <a:lstStyle/>
        <a:p>
          <a:endParaRPr lang="el-GR"/>
        </a:p>
      </dgm:t>
    </dgm:pt>
    <dgm:pt modelId="{A63E72AA-4D26-4792-95B8-9A2D4D26D4F0}" type="sibTrans" cxnId="{700E90E1-D0EB-4E61-8E31-DBD72EF790F1}">
      <dgm:prSet/>
      <dgm:spPr/>
      <dgm:t>
        <a:bodyPr/>
        <a:lstStyle/>
        <a:p>
          <a:endParaRPr lang="el-GR"/>
        </a:p>
      </dgm:t>
    </dgm:pt>
    <dgm:pt modelId="{E46A52FA-B783-4211-8C08-F5E5278A9649}">
      <dgm:prSet phldrT="[Text]"/>
      <dgm:spPr/>
      <dgm:t>
        <a:bodyPr/>
        <a:lstStyle/>
        <a:p>
          <a:r>
            <a:rPr lang="el-GR" dirty="0"/>
            <a:t>Εξωνοσοκομειακή φροντίδα υγείας</a:t>
          </a:r>
          <a:br>
            <a:rPr lang="el-GR" dirty="0"/>
          </a:br>
          <a:r>
            <a:rPr lang="el-GR" dirty="0"/>
            <a:t>(Προσωπικοί Ιατροί, Ειδικοί Ιατροί, Φαρμακεία και Εργαστήρια)</a:t>
          </a:r>
        </a:p>
      </dgm:t>
    </dgm:pt>
    <dgm:pt modelId="{97B3EF2F-8E34-4F96-9D38-F2D5A40AC57A}" type="parTrans" cxnId="{CDD39F85-91E8-463A-8F08-496BC0F68D41}">
      <dgm:prSet/>
      <dgm:spPr/>
      <dgm:t>
        <a:bodyPr/>
        <a:lstStyle/>
        <a:p>
          <a:endParaRPr lang="el-GR"/>
        </a:p>
      </dgm:t>
    </dgm:pt>
    <dgm:pt modelId="{5A2273E6-6CE3-4751-BB25-E2D664F04BA1}" type="sibTrans" cxnId="{CDD39F85-91E8-463A-8F08-496BC0F68D41}">
      <dgm:prSet/>
      <dgm:spPr/>
      <dgm:t>
        <a:bodyPr/>
        <a:lstStyle/>
        <a:p>
          <a:endParaRPr lang="el-GR"/>
        </a:p>
      </dgm:t>
    </dgm:pt>
    <dgm:pt modelId="{7E56405E-2CBE-4600-B185-7A61719D6FD4}">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6"/>
        </a:solidFill>
      </dgm:spPr>
      <dgm:t>
        <a:bodyPr/>
        <a:lstStyle/>
        <a:p>
          <a:r>
            <a:rPr lang="el-GR" sz="2400" b="1" dirty="0"/>
            <a:t>Μάρτιος  </a:t>
          </a:r>
        </a:p>
        <a:p>
          <a:r>
            <a:rPr lang="el-GR" sz="2400" b="1" dirty="0"/>
            <a:t>2020</a:t>
          </a:r>
        </a:p>
      </dgm:t>
    </dgm:pt>
    <dgm:pt modelId="{DD88B363-EBB6-4691-8F74-F2CC2A373635}" type="parTrans" cxnId="{621A9CD0-7B0B-4F73-BB95-49D14B7B85DD}">
      <dgm:prSet/>
      <dgm:spPr/>
      <dgm:t>
        <a:bodyPr/>
        <a:lstStyle/>
        <a:p>
          <a:endParaRPr lang="el-GR"/>
        </a:p>
      </dgm:t>
    </dgm:pt>
    <dgm:pt modelId="{BF2C3398-39DA-4927-B687-F8D12E5C6B8E}" type="sibTrans" cxnId="{621A9CD0-7B0B-4F73-BB95-49D14B7B85DD}">
      <dgm:prSet/>
      <dgm:spPr/>
      <dgm:t>
        <a:bodyPr/>
        <a:lstStyle/>
        <a:p>
          <a:endParaRPr lang="el-GR"/>
        </a:p>
      </dgm:t>
    </dgm:pt>
    <dgm:pt modelId="{94102985-7B18-4DF6-A1C1-33C0A9437449}">
      <dgm:prSet phldrT="[Text]"/>
      <dgm:spPr/>
      <dgm:t>
        <a:bodyPr/>
        <a:lstStyle/>
        <a:p>
          <a:r>
            <a:rPr lang="el-GR" dirty="0"/>
            <a:t>Συλλογή εισφορών για τη 2</a:t>
          </a:r>
          <a:r>
            <a:rPr lang="el-GR" baseline="30000" dirty="0"/>
            <a:t>η</a:t>
          </a:r>
          <a:r>
            <a:rPr lang="el-GR" dirty="0"/>
            <a:t> φάση</a:t>
          </a:r>
        </a:p>
      </dgm:t>
    </dgm:pt>
    <dgm:pt modelId="{CF2CC192-8879-49CE-941C-CA86D018FC94}" type="parTrans" cxnId="{D7D653E3-2973-4E1C-A6B3-8B4B0956FB43}">
      <dgm:prSet/>
      <dgm:spPr/>
      <dgm:t>
        <a:bodyPr/>
        <a:lstStyle/>
        <a:p>
          <a:endParaRPr lang="el-GR"/>
        </a:p>
      </dgm:t>
    </dgm:pt>
    <dgm:pt modelId="{186FBEED-C865-4582-AA1A-44065751A245}" type="sibTrans" cxnId="{D7D653E3-2973-4E1C-A6B3-8B4B0956FB43}">
      <dgm:prSet/>
      <dgm:spPr/>
      <dgm:t>
        <a:bodyPr/>
        <a:lstStyle/>
        <a:p>
          <a:endParaRPr lang="el-GR"/>
        </a:p>
      </dgm:t>
    </dgm:pt>
    <dgm:pt modelId="{CD8CC328-3B40-4F26-BEF9-2C94DF31571A}" type="pres">
      <dgm:prSet presAssocID="{95D347F4-A4D4-4D6E-A9DC-4C9A270C5D75}" presName="Name0" presStyleCnt="0">
        <dgm:presLayoutVars>
          <dgm:dir/>
          <dgm:animLvl val="lvl"/>
          <dgm:resizeHandles val="exact"/>
        </dgm:presLayoutVars>
      </dgm:prSet>
      <dgm:spPr/>
    </dgm:pt>
    <dgm:pt modelId="{C57D6299-A075-40F4-8207-072EFF9DB81E}" type="pres">
      <dgm:prSet presAssocID="{E1C18194-DBF0-400A-877C-7C1DD19D57A6}" presName="linNode" presStyleCnt="0"/>
      <dgm:spPr/>
    </dgm:pt>
    <dgm:pt modelId="{A7BF9F09-90D4-4EE1-B6D0-E9C7AE850A06}" type="pres">
      <dgm:prSet presAssocID="{E1C18194-DBF0-400A-877C-7C1DD19D57A6}" presName="parentText" presStyleLbl="node1" presStyleIdx="0" presStyleCnt="5" custScaleX="66774" custScaleY="38902" custLinFactNeighborX="-517" custLinFactNeighborY="-5413">
        <dgm:presLayoutVars>
          <dgm:chMax val="1"/>
          <dgm:bulletEnabled val="1"/>
        </dgm:presLayoutVars>
      </dgm:prSet>
      <dgm:spPr/>
    </dgm:pt>
    <dgm:pt modelId="{3FC1BD1E-89FC-4179-AA29-CDA2E7001C76}" type="pres">
      <dgm:prSet presAssocID="{E1C18194-DBF0-400A-877C-7C1DD19D57A6}" presName="descendantText" presStyleLbl="alignAccFollowNode1" presStyleIdx="0" presStyleCnt="5" custScaleX="115790" custScaleY="49068" custLinFactNeighborX="3788" custLinFactNeighborY="283">
        <dgm:presLayoutVars>
          <dgm:bulletEnabled val="1"/>
        </dgm:presLayoutVars>
      </dgm:prSet>
      <dgm:spPr/>
    </dgm:pt>
    <dgm:pt modelId="{B9ED8701-2154-4A7D-9946-64AD4F81EFCA}" type="pres">
      <dgm:prSet presAssocID="{F6913EE8-07A5-4B72-BFFB-A91C5273E1A2}" presName="sp" presStyleCnt="0"/>
      <dgm:spPr/>
    </dgm:pt>
    <dgm:pt modelId="{08DA83B4-6F29-4B4D-B6BE-464ACDDA2284}" type="pres">
      <dgm:prSet presAssocID="{66E726E1-D6E8-4EA6-BB72-D06AB5CE1DDE}" presName="linNode" presStyleCnt="0"/>
      <dgm:spPr/>
    </dgm:pt>
    <dgm:pt modelId="{10E9B848-DA40-4E33-AA07-9464250EA64E}" type="pres">
      <dgm:prSet presAssocID="{66E726E1-D6E8-4EA6-BB72-D06AB5CE1DDE}" presName="parentText" presStyleLbl="node1" presStyleIdx="1" presStyleCnt="5" custScaleX="65077" custScaleY="37596" custLinFactNeighborX="-593" custLinFactNeighborY="-1910">
        <dgm:presLayoutVars>
          <dgm:chMax val="1"/>
          <dgm:bulletEnabled val="1"/>
        </dgm:presLayoutVars>
      </dgm:prSet>
      <dgm:spPr/>
    </dgm:pt>
    <dgm:pt modelId="{B95F36FF-5168-4BE2-AE24-8425CC46BEF1}" type="pres">
      <dgm:prSet presAssocID="{66E726E1-D6E8-4EA6-BB72-D06AB5CE1DDE}" presName="descendantText" presStyleLbl="alignAccFollowNode1" presStyleIdx="1" presStyleCnt="5" custScaleX="116070" custScaleY="47588" custLinFactNeighborX="4495" custLinFactNeighborY="-1272">
        <dgm:presLayoutVars>
          <dgm:bulletEnabled val="1"/>
        </dgm:presLayoutVars>
      </dgm:prSet>
      <dgm:spPr/>
    </dgm:pt>
    <dgm:pt modelId="{25387313-0272-41E3-BA5F-1DE324C044BF}" type="pres">
      <dgm:prSet presAssocID="{19409B6A-4F04-4BBF-BCC1-1A67BC78600D}" presName="sp" presStyleCnt="0"/>
      <dgm:spPr/>
    </dgm:pt>
    <dgm:pt modelId="{2207FCB4-EC8F-4722-AFFC-F03436AD00FD}" type="pres">
      <dgm:prSet presAssocID="{6683721C-E6F3-4B5C-91F3-B6FCA093BE99}" presName="linNode" presStyleCnt="0"/>
      <dgm:spPr/>
    </dgm:pt>
    <dgm:pt modelId="{78B3671F-019C-4601-B7BE-8AB5DA5D8D65}" type="pres">
      <dgm:prSet presAssocID="{6683721C-E6F3-4B5C-91F3-B6FCA093BE99}" presName="parentText" presStyleLbl="node1" presStyleIdx="2" presStyleCnt="5" custScaleX="64567" custScaleY="42991" custLinFactNeighborX="-748" custLinFactNeighborY="88561">
        <dgm:presLayoutVars>
          <dgm:chMax val="1"/>
          <dgm:bulletEnabled val="1"/>
        </dgm:presLayoutVars>
      </dgm:prSet>
      <dgm:spPr/>
    </dgm:pt>
    <dgm:pt modelId="{DF03F2E3-A63D-49F0-BDD2-FBAA0B0F8913}" type="pres">
      <dgm:prSet presAssocID="{6683721C-E6F3-4B5C-91F3-B6FCA093BE99}" presName="descendantText" presStyleLbl="alignAccFollowNode1" presStyleIdx="2" presStyleCnt="5" custScaleX="115159" custScaleY="58495" custLinFactY="17702" custLinFactNeighborX="4052" custLinFactNeighborY="100000">
        <dgm:presLayoutVars>
          <dgm:bulletEnabled val="1"/>
        </dgm:presLayoutVars>
      </dgm:prSet>
      <dgm:spPr/>
    </dgm:pt>
    <dgm:pt modelId="{39E8FF7D-729A-447B-8229-3AEFF8B14963}" type="pres">
      <dgm:prSet presAssocID="{606C9869-234E-4BFE-85A3-781B4579716D}" presName="sp" presStyleCnt="0"/>
      <dgm:spPr/>
    </dgm:pt>
    <dgm:pt modelId="{793669DF-0F3B-474D-A659-727F2A6AE85E}" type="pres">
      <dgm:prSet presAssocID="{00639BF1-A174-4706-8B13-565B59B99396}" presName="linNode" presStyleCnt="0"/>
      <dgm:spPr/>
    </dgm:pt>
    <dgm:pt modelId="{C197305B-E8E4-45FE-94E2-09FEFE0A943F}" type="pres">
      <dgm:prSet presAssocID="{00639BF1-A174-4706-8B13-565B59B99396}" presName="parentText" presStyleLbl="node1" presStyleIdx="3" presStyleCnt="5" custScaleX="62719" custScaleY="39383" custLinFactNeighborX="-163" custLinFactNeighborY="-54558">
        <dgm:presLayoutVars>
          <dgm:chMax val="1"/>
          <dgm:bulletEnabled val="1"/>
        </dgm:presLayoutVars>
      </dgm:prSet>
      <dgm:spPr/>
    </dgm:pt>
    <dgm:pt modelId="{D6E55857-2CBA-4665-B984-938C78D13EDD}" type="pres">
      <dgm:prSet presAssocID="{00639BF1-A174-4706-8B13-565B59B99396}" presName="descendantText" presStyleLbl="alignAccFollowNode1" presStyleIdx="3" presStyleCnt="5" custScaleX="116514" custScaleY="49125" custLinFactNeighborX="4864" custLinFactNeighborY="-67656">
        <dgm:presLayoutVars>
          <dgm:bulletEnabled val="1"/>
        </dgm:presLayoutVars>
      </dgm:prSet>
      <dgm:spPr/>
    </dgm:pt>
    <dgm:pt modelId="{DC5AF202-EB40-406B-AD77-C4712B1CDFF1}" type="pres">
      <dgm:prSet presAssocID="{D702E3A3-92DA-4B59-9504-402452AEBB0F}" presName="sp" presStyleCnt="0"/>
      <dgm:spPr/>
    </dgm:pt>
    <dgm:pt modelId="{1F1F3B91-0A8B-44DC-8834-C61237B25077}" type="pres">
      <dgm:prSet presAssocID="{7E56405E-2CBE-4600-B185-7A61719D6FD4}" presName="linNode" presStyleCnt="0"/>
      <dgm:spPr/>
    </dgm:pt>
    <dgm:pt modelId="{EA7BC595-A8F0-4156-B8FF-CBB4EE84E96B}" type="pres">
      <dgm:prSet presAssocID="{7E56405E-2CBE-4600-B185-7A61719D6FD4}" presName="parentText" presStyleLbl="node1" presStyleIdx="4" presStyleCnt="5" custScaleX="64518" custScaleY="34954" custLinFactNeighborX="472" custLinFactNeighborY="-52218">
        <dgm:presLayoutVars>
          <dgm:chMax val="1"/>
          <dgm:bulletEnabled val="1"/>
        </dgm:presLayoutVars>
      </dgm:prSet>
      <dgm:spPr/>
    </dgm:pt>
    <dgm:pt modelId="{A32CC275-00CE-49C2-86BC-EE26E37CD0D4}" type="pres">
      <dgm:prSet presAssocID="{7E56405E-2CBE-4600-B185-7A61719D6FD4}" presName="descendantText" presStyleLbl="alignAccFollowNode1" presStyleIdx="4" presStyleCnt="5" custScaleX="117024" custScaleY="47588" custLinFactNeighborX="7426" custLinFactNeighborY="-67053">
        <dgm:presLayoutVars>
          <dgm:bulletEnabled val="1"/>
        </dgm:presLayoutVars>
      </dgm:prSet>
      <dgm:spPr/>
    </dgm:pt>
  </dgm:ptLst>
  <dgm:cxnLst>
    <dgm:cxn modelId="{03E02202-94E2-42AB-9305-04422270DEE3}" srcId="{E1C18194-DBF0-400A-877C-7C1DD19D57A6}" destId="{306EFB24-B29C-455A-8872-AFBD2AED28D4}" srcOrd="0" destOrd="0" parTransId="{BE09A9C9-9FCF-449C-85D0-C6051EC43B8B}" sibTransId="{4A013D77-7D5A-4992-810F-3206F3893A04}"/>
    <dgm:cxn modelId="{D52C8D44-C2DA-479B-8F37-8FE52776ED72}" type="presOf" srcId="{7E56405E-2CBE-4600-B185-7A61719D6FD4}" destId="{EA7BC595-A8F0-4156-B8FF-CBB4EE84E96B}" srcOrd="0" destOrd="0" presId="urn:microsoft.com/office/officeart/2005/8/layout/vList5"/>
    <dgm:cxn modelId="{A283AF77-6AB8-40DF-9A42-291186C5BCF2}" srcId="{306EFB24-B29C-455A-8872-AFBD2AED28D4}" destId="{533F548A-B923-4D35-82E3-9698645B8516}" srcOrd="0" destOrd="0" parTransId="{171E862E-04B1-489A-8710-9F36DEEE0B19}" sibTransId="{DF2FF5DF-8496-47C5-97E1-DCF8779C0962}"/>
    <dgm:cxn modelId="{D4414B78-3810-4DC7-9BA8-A05268442178}" type="presOf" srcId="{66E726E1-D6E8-4EA6-BB72-D06AB5CE1DDE}" destId="{10E9B848-DA40-4E33-AA07-9464250EA64E}" srcOrd="0" destOrd="0" presId="urn:microsoft.com/office/officeart/2005/8/layout/vList5"/>
    <dgm:cxn modelId="{CDD39F85-91E8-463A-8F08-496BC0F68D41}" srcId="{00639BF1-A174-4706-8B13-565B59B99396}" destId="{E46A52FA-B783-4211-8C08-F5E5278A9649}" srcOrd="1" destOrd="0" parTransId="{97B3EF2F-8E34-4F96-9D38-F2D5A40AC57A}" sibTransId="{5A2273E6-6CE3-4751-BB25-E2D664F04BA1}"/>
    <dgm:cxn modelId="{14F8DD88-D843-45BA-8D31-474A7C9CBBEA}" srcId="{95D347F4-A4D4-4D6E-A9DC-4C9A270C5D75}" destId="{00639BF1-A174-4706-8B13-565B59B99396}" srcOrd="3" destOrd="0" parTransId="{21C9ECA0-2A19-4F53-8D5D-A375402C7AE4}" sibTransId="{D702E3A3-92DA-4B59-9504-402452AEBB0F}"/>
    <dgm:cxn modelId="{5884408E-37BD-4E6C-8641-A12F8022674E}" type="presOf" srcId="{507BD9A4-F3D4-4913-9BAE-10A8075850E1}" destId="{DF03F2E3-A63D-49F0-BDD2-FBAA0B0F8913}" srcOrd="0" destOrd="0" presId="urn:microsoft.com/office/officeart/2005/8/layout/vList5"/>
    <dgm:cxn modelId="{1240669A-AA4F-4DA9-836D-A6F0C41A2149}" srcId="{6683721C-E6F3-4B5C-91F3-B6FCA093BE99}" destId="{29221320-EA74-4C5E-B96E-E4CFF4B098B8}" srcOrd="1" destOrd="0" parTransId="{5BB9471F-306B-442D-BC1D-8E1B3EC39C2A}" sibTransId="{F4D4B4CD-27FF-446C-AC7A-1B7457B57377}"/>
    <dgm:cxn modelId="{14E3799F-7AC3-49DD-8278-6DB653124D0B}" type="presOf" srcId="{306EFB24-B29C-455A-8872-AFBD2AED28D4}" destId="{3FC1BD1E-89FC-4179-AA29-CDA2E7001C76}" srcOrd="0" destOrd="0" presId="urn:microsoft.com/office/officeart/2005/8/layout/vList5"/>
    <dgm:cxn modelId="{BC1BF9A7-2BCB-46F1-979D-ECB62E8F5D87}" type="presOf" srcId="{29221320-EA74-4C5E-B96E-E4CFF4B098B8}" destId="{DF03F2E3-A63D-49F0-BDD2-FBAA0B0F8913}" srcOrd="0" destOrd="1" presId="urn:microsoft.com/office/officeart/2005/8/layout/vList5"/>
    <dgm:cxn modelId="{2B27CDA9-0C6C-408A-9546-6555BDAB3A5C}" srcId="{66E726E1-D6E8-4EA6-BB72-D06AB5CE1DDE}" destId="{E272FE20-D824-45FF-9CBE-57573256AB05}" srcOrd="0" destOrd="0" parTransId="{C37A27AF-05A4-446D-8E1C-ED1E2791FB2E}" sibTransId="{5C9C8D9C-531F-444F-BAE2-C27E6371CFEF}"/>
    <dgm:cxn modelId="{E8013DB0-C3FE-41E9-A86F-0123F49BCCFD}" type="presOf" srcId="{E272FE20-D824-45FF-9CBE-57573256AB05}" destId="{B95F36FF-5168-4BE2-AE24-8425CC46BEF1}" srcOrd="0" destOrd="0" presId="urn:microsoft.com/office/officeart/2005/8/layout/vList5"/>
    <dgm:cxn modelId="{93C71AC2-E38C-419B-98D5-22632C85B91B}" srcId="{6683721C-E6F3-4B5C-91F3-B6FCA093BE99}" destId="{507BD9A4-F3D4-4913-9BAE-10A8075850E1}" srcOrd="0" destOrd="0" parTransId="{E4AB6F4C-5BFC-4482-8894-349C4B81340C}" sibTransId="{7ECA31D0-E493-4B8D-B083-1203BEFEAAC5}"/>
    <dgm:cxn modelId="{20D4F2C9-51A6-40A4-8F29-33FFE831A3FF}" srcId="{306EFB24-B29C-455A-8872-AFBD2AED28D4}" destId="{3DA57C8F-2074-4DB0-9FC7-E8FF51D49A3B}" srcOrd="1" destOrd="0" parTransId="{077BF70C-2C90-4D30-B926-E667B0C52522}" sibTransId="{09B46EEB-915C-49A0-BC40-698D29AB44CA}"/>
    <dgm:cxn modelId="{BC21E8CF-B3DA-4903-A7C7-4D95F23027B1}" type="presOf" srcId="{E46A52FA-B783-4211-8C08-F5E5278A9649}" destId="{D6E55857-2CBA-4665-B984-938C78D13EDD}" srcOrd="0" destOrd="1" presId="urn:microsoft.com/office/officeart/2005/8/layout/vList5"/>
    <dgm:cxn modelId="{621A9CD0-7B0B-4F73-BB95-49D14B7B85DD}" srcId="{95D347F4-A4D4-4D6E-A9DC-4C9A270C5D75}" destId="{7E56405E-2CBE-4600-B185-7A61719D6FD4}" srcOrd="4" destOrd="0" parTransId="{DD88B363-EBB6-4691-8F74-F2CC2A373635}" sibTransId="{BF2C3398-39DA-4927-B687-F8D12E5C6B8E}"/>
    <dgm:cxn modelId="{1756EBD5-375B-4865-A0E1-7E9CF7FC6F57}" type="presOf" srcId="{6683721C-E6F3-4B5C-91F3-B6FCA093BE99}" destId="{78B3671F-019C-4601-B7BE-8AB5DA5D8D65}" srcOrd="0" destOrd="0" presId="urn:microsoft.com/office/officeart/2005/8/layout/vList5"/>
    <dgm:cxn modelId="{A8FD41D6-9637-484E-8C6D-6F24C1761CAC}" srcId="{95D347F4-A4D4-4D6E-A9DC-4C9A270C5D75}" destId="{E1C18194-DBF0-400A-877C-7C1DD19D57A6}" srcOrd="0" destOrd="0" parTransId="{421B2295-9F07-4B0E-AB13-96FA98966EB2}" sibTransId="{F6913EE8-07A5-4B72-BFFB-A91C5273E1A2}"/>
    <dgm:cxn modelId="{5AC615DD-7E8F-424D-ABBE-CCA3095CE5D7}" srcId="{95D347F4-A4D4-4D6E-A9DC-4C9A270C5D75}" destId="{66E726E1-D6E8-4EA6-BB72-D06AB5CE1DDE}" srcOrd="1" destOrd="0" parTransId="{16ADC769-0A1B-4B96-BBEE-A61C0DC70008}" sibTransId="{19409B6A-4F04-4BBF-BCC1-1A67BC78600D}"/>
    <dgm:cxn modelId="{73DE68DE-EB34-4CDF-B471-D37EF1DD716D}" type="presOf" srcId="{94102985-7B18-4DF6-A1C1-33C0A9437449}" destId="{A32CC275-00CE-49C2-86BC-EE26E37CD0D4}" srcOrd="0" destOrd="0" presId="urn:microsoft.com/office/officeart/2005/8/layout/vList5"/>
    <dgm:cxn modelId="{5382E2E0-6E65-42CE-8022-FEC34163962A}" type="presOf" srcId="{3DA57C8F-2074-4DB0-9FC7-E8FF51D49A3B}" destId="{3FC1BD1E-89FC-4179-AA29-CDA2E7001C76}" srcOrd="0" destOrd="2" presId="urn:microsoft.com/office/officeart/2005/8/layout/vList5"/>
    <dgm:cxn modelId="{700E90E1-D0EB-4E61-8E31-DBD72EF790F1}" srcId="{00639BF1-A174-4706-8B13-565B59B99396}" destId="{4BF35D4F-E76F-4A00-8DB0-3F53CCE8D37A}" srcOrd="0" destOrd="0" parTransId="{F838068F-004E-479C-AB2E-4289F2EB17F8}" sibTransId="{A63E72AA-4D26-4792-95B8-9A2D4D26D4F0}"/>
    <dgm:cxn modelId="{0B97F2E1-03C4-495C-B7D6-87850D3B42A9}" type="presOf" srcId="{533F548A-B923-4D35-82E3-9698645B8516}" destId="{3FC1BD1E-89FC-4179-AA29-CDA2E7001C76}" srcOrd="0" destOrd="1" presId="urn:microsoft.com/office/officeart/2005/8/layout/vList5"/>
    <dgm:cxn modelId="{D7D653E3-2973-4E1C-A6B3-8B4B0956FB43}" srcId="{7E56405E-2CBE-4600-B185-7A61719D6FD4}" destId="{94102985-7B18-4DF6-A1C1-33C0A9437449}" srcOrd="0" destOrd="0" parTransId="{CF2CC192-8879-49CE-941C-CA86D018FC94}" sibTransId="{186FBEED-C865-4582-AA1A-44065751A245}"/>
    <dgm:cxn modelId="{233EBAEE-4229-42CF-87D7-2393E1BAE92E}" type="presOf" srcId="{4BF35D4F-E76F-4A00-8DB0-3F53CCE8D37A}" destId="{D6E55857-2CBA-4665-B984-938C78D13EDD}" srcOrd="0" destOrd="0" presId="urn:microsoft.com/office/officeart/2005/8/layout/vList5"/>
    <dgm:cxn modelId="{1CE1ACF2-627C-4D93-8CA2-396EE1A970B4}" srcId="{95D347F4-A4D4-4D6E-A9DC-4C9A270C5D75}" destId="{6683721C-E6F3-4B5C-91F3-B6FCA093BE99}" srcOrd="2" destOrd="0" parTransId="{BDFF1CF5-BB53-410C-86AD-40E9DBEC883E}" sibTransId="{606C9869-234E-4BFE-85A3-781B4579716D}"/>
    <dgm:cxn modelId="{D066F6F6-C696-4D46-A9BD-DF4872539997}" type="presOf" srcId="{00639BF1-A174-4706-8B13-565B59B99396}" destId="{C197305B-E8E4-45FE-94E2-09FEFE0A943F}" srcOrd="0" destOrd="0" presId="urn:microsoft.com/office/officeart/2005/8/layout/vList5"/>
    <dgm:cxn modelId="{4A9AD7FA-ECB0-4584-8D23-99D022487F9D}" type="presOf" srcId="{E1C18194-DBF0-400A-877C-7C1DD19D57A6}" destId="{A7BF9F09-90D4-4EE1-B6D0-E9C7AE850A06}" srcOrd="0" destOrd="0" presId="urn:microsoft.com/office/officeart/2005/8/layout/vList5"/>
    <dgm:cxn modelId="{F99F36FC-5C66-4CD3-81C5-45F088AED1B5}" type="presOf" srcId="{95D347F4-A4D4-4D6E-A9DC-4C9A270C5D75}" destId="{CD8CC328-3B40-4F26-BEF9-2C94DF31571A}" srcOrd="0" destOrd="0" presId="urn:microsoft.com/office/officeart/2005/8/layout/vList5"/>
    <dgm:cxn modelId="{B68A02B5-C123-402E-B7AD-512F9F065FB7}" type="presParOf" srcId="{CD8CC328-3B40-4F26-BEF9-2C94DF31571A}" destId="{C57D6299-A075-40F4-8207-072EFF9DB81E}" srcOrd="0" destOrd="0" presId="urn:microsoft.com/office/officeart/2005/8/layout/vList5"/>
    <dgm:cxn modelId="{6898336F-19B6-4BE4-B981-B3511FCDA01A}" type="presParOf" srcId="{C57D6299-A075-40F4-8207-072EFF9DB81E}" destId="{A7BF9F09-90D4-4EE1-B6D0-E9C7AE850A06}" srcOrd="0" destOrd="0" presId="urn:microsoft.com/office/officeart/2005/8/layout/vList5"/>
    <dgm:cxn modelId="{33041C31-5528-4E76-A7F0-2754F1433668}" type="presParOf" srcId="{C57D6299-A075-40F4-8207-072EFF9DB81E}" destId="{3FC1BD1E-89FC-4179-AA29-CDA2E7001C76}" srcOrd="1" destOrd="0" presId="urn:microsoft.com/office/officeart/2005/8/layout/vList5"/>
    <dgm:cxn modelId="{9B693420-91EC-457F-863E-BEC22689DD5F}" type="presParOf" srcId="{CD8CC328-3B40-4F26-BEF9-2C94DF31571A}" destId="{B9ED8701-2154-4A7D-9946-64AD4F81EFCA}" srcOrd="1" destOrd="0" presId="urn:microsoft.com/office/officeart/2005/8/layout/vList5"/>
    <dgm:cxn modelId="{2DAE1D89-EB1D-4D73-9B2C-FAD6D0EB8E98}" type="presParOf" srcId="{CD8CC328-3B40-4F26-BEF9-2C94DF31571A}" destId="{08DA83B4-6F29-4B4D-B6BE-464ACDDA2284}" srcOrd="2" destOrd="0" presId="urn:microsoft.com/office/officeart/2005/8/layout/vList5"/>
    <dgm:cxn modelId="{7FD37C50-31BE-4979-8D8A-BAB905522CF0}" type="presParOf" srcId="{08DA83B4-6F29-4B4D-B6BE-464ACDDA2284}" destId="{10E9B848-DA40-4E33-AA07-9464250EA64E}" srcOrd="0" destOrd="0" presId="urn:microsoft.com/office/officeart/2005/8/layout/vList5"/>
    <dgm:cxn modelId="{37A8F927-71CD-4940-95D1-1A9BDCAE9368}" type="presParOf" srcId="{08DA83B4-6F29-4B4D-B6BE-464ACDDA2284}" destId="{B95F36FF-5168-4BE2-AE24-8425CC46BEF1}" srcOrd="1" destOrd="0" presId="urn:microsoft.com/office/officeart/2005/8/layout/vList5"/>
    <dgm:cxn modelId="{798482BF-6021-4DBB-ACB6-FF9399E5C2D4}" type="presParOf" srcId="{CD8CC328-3B40-4F26-BEF9-2C94DF31571A}" destId="{25387313-0272-41E3-BA5F-1DE324C044BF}" srcOrd="3" destOrd="0" presId="urn:microsoft.com/office/officeart/2005/8/layout/vList5"/>
    <dgm:cxn modelId="{C648E3EA-57F3-48F2-85C4-96630BDFF2B5}" type="presParOf" srcId="{CD8CC328-3B40-4F26-BEF9-2C94DF31571A}" destId="{2207FCB4-EC8F-4722-AFFC-F03436AD00FD}" srcOrd="4" destOrd="0" presId="urn:microsoft.com/office/officeart/2005/8/layout/vList5"/>
    <dgm:cxn modelId="{0C68A518-A535-447D-9DAB-D9414E23B042}" type="presParOf" srcId="{2207FCB4-EC8F-4722-AFFC-F03436AD00FD}" destId="{78B3671F-019C-4601-B7BE-8AB5DA5D8D65}" srcOrd="0" destOrd="0" presId="urn:microsoft.com/office/officeart/2005/8/layout/vList5"/>
    <dgm:cxn modelId="{5A598950-917E-46B7-BC61-B4A0123B7F50}" type="presParOf" srcId="{2207FCB4-EC8F-4722-AFFC-F03436AD00FD}" destId="{DF03F2E3-A63D-49F0-BDD2-FBAA0B0F8913}" srcOrd="1" destOrd="0" presId="urn:microsoft.com/office/officeart/2005/8/layout/vList5"/>
    <dgm:cxn modelId="{4BDA22C2-6553-4498-BF47-164DEE0CB538}" type="presParOf" srcId="{CD8CC328-3B40-4F26-BEF9-2C94DF31571A}" destId="{39E8FF7D-729A-447B-8229-3AEFF8B14963}" srcOrd="5" destOrd="0" presId="urn:microsoft.com/office/officeart/2005/8/layout/vList5"/>
    <dgm:cxn modelId="{123B3A4B-39CD-4FD9-9590-D79FA3B4F9B2}" type="presParOf" srcId="{CD8CC328-3B40-4F26-BEF9-2C94DF31571A}" destId="{793669DF-0F3B-474D-A659-727F2A6AE85E}" srcOrd="6" destOrd="0" presId="urn:microsoft.com/office/officeart/2005/8/layout/vList5"/>
    <dgm:cxn modelId="{BC538994-C20E-4AC4-9BB3-F3B19E4B4E6C}" type="presParOf" srcId="{793669DF-0F3B-474D-A659-727F2A6AE85E}" destId="{C197305B-E8E4-45FE-94E2-09FEFE0A943F}" srcOrd="0" destOrd="0" presId="urn:microsoft.com/office/officeart/2005/8/layout/vList5"/>
    <dgm:cxn modelId="{855E5833-1AF1-4482-855B-C6EE10DFC24B}" type="presParOf" srcId="{793669DF-0F3B-474D-A659-727F2A6AE85E}" destId="{D6E55857-2CBA-4665-B984-938C78D13EDD}" srcOrd="1" destOrd="0" presId="urn:microsoft.com/office/officeart/2005/8/layout/vList5"/>
    <dgm:cxn modelId="{DCBCB6AB-DBD8-4ED6-85A2-B0D82123C239}" type="presParOf" srcId="{CD8CC328-3B40-4F26-BEF9-2C94DF31571A}" destId="{DC5AF202-EB40-406B-AD77-C4712B1CDFF1}" srcOrd="7" destOrd="0" presId="urn:microsoft.com/office/officeart/2005/8/layout/vList5"/>
    <dgm:cxn modelId="{BADEA24C-4EBA-4F21-9535-68DDE0F6EAE5}" type="presParOf" srcId="{CD8CC328-3B40-4F26-BEF9-2C94DF31571A}" destId="{1F1F3B91-0A8B-44DC-8834-C61237B25077}" srcOrd="8" destOrd="0" presId="urn:microsoft.com/office/officeart/2005/8/layout/vList5"/>
    <dgm:cxn modelId="{09E7C3F6-2AF8-462A-9120-F6A9EA3CDD7D}" type="presParOf" srcId="{1F1F3B91-0A8B-44DC-8834-C61237B25077}" destId="{EA7BC595-A8F0-4156-B8FF-CBB4EE84E96B}" srcOrd="0" destOrd="0" presId="urn:microsoft.com/office/officeart/2005/8/layout/vList5"/>
    <dgm:cxn modelId="{25B8B3F9-251D-4060-A363-B114A1BAE83E}" type="presParOf" srcId="{1F1F3B91-0A8B-44DC-8834-C61237B25077}" destId="{A32CC275-00CE-49C2-86BC-EE26E37CD0D4}"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90A3B86F-1B89-49E2-A03A-732D79C6FA2C}" type="doc">
      <dgm:prSet loTypeId="urn:microsoft.com/office/officeart/2005/8/layout/list1" loCatId="list" qsTypeId="urn:microsoft.com/office/officeart/2005/8/quickstyle/simple1" qsCatId="simple" csTypeId="urn:microsoft.com/office/officeart/2005/8/colors/accent2_4" csCatId="accent2" phldr="1"/>
      <dgm:spPr/>
      <dgm:t>
        <a:bodyPr/>
        <a:lstStyle/>
        <a:p>
          <a:endParaRPr lang="en-GB"/>
        </a:p>
      </dgm:t>
    </dgm:pt>
    <dgm:pt modelId="{B852C51C-FF58-4759-B9B4-B19E49C1B586}">
      <dgm:prSet phldrT="[Text]" custT="1"/>
      <dgm:spPr>
        <a:solidFill>
          <a:srgbClr val="6980BC"/>
        </a:solidFill>
      </dgm:spPr>
      <dgm:t>
        <a:bodyPr/>
        <a:lstStyle/>
        <a:p>
          <a:r>
            <a:rPr lang="el-GR" sz="2000" b="1" dirty="0">
              <a:solidFill>
                <a:schemeClr val="bg1"/>
              </a:solidFill>
            </a:rPr>
            <a:t>Οφέλη για το δικαιούχο</a:t>
          </a:r>
          <a:endParaRPr lang="en-GB" sz="2000" b="1" dirty="0">
            <a:solidFill>
              <a:schemeClr val="bg1"/>
            </a:solidFill>
          </a:endParaRPr>
        </a:p>
      </dgm:t>
    </dgm:pt>
    <dgm:pt modelId="{D3B39EF6-92E6-4C10-9EF0-F332E9E6D852}" type="parTrans" cxnId="{C1E5E218-1F4D-4D6C-B686-373AA9A70C21}">
      <dgm:prSet/>
      <dgm:spPr/>
      <dgm:t>
        <a:bodyPr/>
        <a:lstStyle/>
        <a:p>
          <a:endParaRPr lang="en-GB"/>
        </a:p>
      </dgm:t>
    </dgm:pt>
    <dgm:pt modelId="{6E1629A5-BB94-4DF2-A620-A48A38A59045}" type="sibTrans" cxnId="{C1E5E218-1F4D-4D6C-B686-373AA9A70C21}">
      <dgm:prSet/>
      <dgm:spPr/>
      <dgm:t>
        <a:bodyPr/>
        <a:lstStyle/>
        <a:p>
          <a:endParaRPr lang="en-GB"/>
        </a:p>
      </dgm:t>
    </dgm:pt>
    <dgm:pt modelId="{1E797ED3-CC39-4EF6-B3E1-1497783BE21E}">
      <dgm:prSet phldrT="[Text]" custT="1"/>
      <dgm:spPr>
        <a:solidFill>
          <a:schemeClr val="accent6">
            <a:lumMod val="20000"/>
            <a:lumOff val="80000"/>
            <a:alpha val="90000"/>
          </a:schemeClr>
        </a:solidFill>
      </dgm:spPr>
      <dgm:t>
        <a:bodyPr/>
        <a:lstStyle/>
        <a:p>
          <a:endParaRPr lang="el-GR" sz="1800" dirty="0"/>
        </a:p>
      </dgm:t>
    </dgm:pt>
    <dgm:pt modelId="{398E07F2-FA49-455D-92AE-3FAA7FA941FD}" type="parTrans" cxnId="{4DFFC346-8871-4BF5-8451-4DCA8CDACFBA}">
      <dgm:prSet/>
      <dgm:spPr/>
      <dgm:t>
        <a:bodyPr/>
        <a:lstStyle/>
        <a:p>
          <a:endParaRPr lang="el-GR"/>
        </a:p>
      </dgm:t>
    </dgm:pt>
    <dgm:pt modelId="{DF28CB8D-AAE2-4EC8-A8B1-E47A0239A337}" type="sibTrans" cxnId="{4DFFC346-8871-4BF5-8451-4DCA8CDACFBA}">
      <dgm:prSet/>
      <dgm:spPr/>
      <dgm:t>
        <a:bodyPr/>
        <a:lstStyle/>
        <a:p>
          <a:endParaRPr lang="el-GR"/>
        </a:p>
      </dgm:t>
    </dgm:pt>
    <dgm:pt modelId="{E7133C70-2A6F-403D-8A70-5DB0895242BD}">
      <dgm:prSet phldrT="[Text]" custT="1"/>
      <dgm:spPr>
        <a:solidFill>
          <a:schemeClr val="accent6">
            <a:lumMod val="20000"/>
            <a:lumOff val="80000"/>
            <a:alpha val="90000"/>
          </a:schemeClr>
        </a:solidFill>
      </dgm:spPr>
      <dgm:t>
        <a:bodyPr/>
        <a:lstStyle/>
        <a:p>
          <a:r>
            <a:rPr lang="el-GR" sz="1800" dirty="0"/>
            <a:t>Καθολική κάλυψη για όλους από τη γέννηση μέχρι το θάνατο </a:t>
          </a:r>
        </a:p>
      </dgm:t>
    </dgm:pt>
    <dgm:pt modelId="{4E0C09DB-56EC-44DF-AA04-E6F0CAFB9A28}" type="sibTrans" cxnId="{22E81D38-F7F6-41B7-A235-9B5FEEABDC42}">
      <dgm:prSet/>
      <dgm:spPr/>
      <dgm:t>
        <a:bodyPr/>
        <a:lstStyle/>
        <a:p>
          <a:endParaRPr lang="en-GB"/>
        </a:p>
      </dgm:t>
    </dgm:pt>
    <dgm:pt modelId="{11D607FD-2F79-4109-A026-1BCF803704E4}" type="parTrans" cxnId="{22E81D38-F7F6-41B7-A235-9B5FEEABDC42}">
      <dgm:prSet/>
      <dgm:spPr/>
      <dgm:t>
        <a:bodyPr/>
        <a:lstStyle/>
        <a:p>
          <a:endParaRPr lang="en-GB"/>
        </a:p>
      </dgm:t>
    </dgm:pt>
    <dgm:pt modelId="{305633B2-4CB6-4AF1-9180-2F8683CD4267}">
      <dgm:prSet custT="1"/>
      <dgm:spPr/>
      <dgm:t>
        <a:bodyPr/>
        <a:lstStyle/>
        <a:p>
          <a:endParaRPr lang="en-GB" sz="1800" dirty="0"/>
        </a:p>
      </dgm:t>
    </dgm:pt>
    <dgm:pt modelId="{B9F44724-3EAD-4FE2-925D-19E41ED8BCD8}" type="parTrans" cxnId="{0664676F-1030-43B1-AA07-12A0B6A237E9}">
      <dgm:prSet/>
      <dgm:spPr/>
      <dgm:t>
        <a:bodyPr/>
        <a:lstStyle/>
        <a:p>
          <a:endParaRPr lang="el-GR"/>
        </a:p>
      </dgm:t>
    </dgm:pt>
    <dgm:pt modelId="{CE5A512A-5034-4AEE-AD09-F9F37BC9A935}" type="sibTrans" cxnId="{0664676F-1030-43B1-AA07-12A0B6A237E9}">
      <dgm:prSet/>
      <dgm:spPr/>
      <dgm:t>
        <a:bodyPr/>
        <a:lstStyle/>
        <a:p>
          <a:endParaRPr lang="el-GR"/>
        </a:p>
      </dgm:t>
    </dgm:pt>
    <dgm:pt modelId="{BB12FB23-E923-42E2-A26C-22330CEEA0E0}">
      <dgm:prSet custT="1"/>
      <dgm:spPr/>
      <dgm:t>
        <a:bodyPr/>
        <a:lstStyle/>
        <a:p>
          <a:r>
            <a:rPr lang="el-GR" sz="1800" dirty="0"/>
            <a:t>Οικονομική προστασία </a:t>
          </a:r>
          <a:endParaRPr lang="en-GB" sz="1800" dirty="0"/>
        </a:p>
      </dgm:t>
    </dgm:pt>
    <dgm:pt modelId="{CA98ECD5-E3C6-4D8C-8F7F-97405CDA477C}" type="parTrans" cxnId="{64CD452A-1EBA-467C-9892-C9EC78F7754C}">
      <dgm:prSet/>
      <dgm:spPr/>
      <dgm:t>
        <a:bodyPr/>
        <a:lstStyle/>
        <a:p>
          <a:endParaRPr lang="el-GR"/>
        </a:p>
      </dgm:t>
    </dgm:pt>
    <dgm:pt modelId="{6D20FB87-56CF-48D5-AEA1-BEE7967FAF6E}" type="sibTrans" cxnId="{64CD452A-1EBA-467C-9892-C9EC78F7754C}">
      <dgm:prSet/>
      <dgm:spPr/>
      <dgm:t>
        <a:bodyPr/>
        <a:lstStyle/>
        <a:p>
          <a:endParaRPr lang="el-GR"/>
        </a:p>
      </dgm:t>
    </dgm:pt>
    <dgm:pt modelId="{BAE6578D-3256-4A55-AA6E-44924DB3E8C1}">
      <dgm:prSet custT="1"/>
      <dgm:spPr/>
      <dgm:t>
        <a:bodyPr/>
        <a:lstStyle/>
        <a:p>
          <a:endParaRPr lang="en-GB" sz="1800" dirty="0"/>
        </a:p>
      </dgm:t>
    </dgm:pt>
    <dgm:pt modelId="{0673A3C6-4367-4E70-BD42-0B2AA2FA4275}" type="parTrans" cxnId="{69466B46-8999-4795-8DF7-9586CBFA6448}">
      <dgm:prSet/>
      <dgm:spPr/>
      <dgm:t>
        <a:bodyPr/>
        <a:lstStyle/>
        <a:p>
          <a:endParaRPr lang="el-GR"/>
        </a:p>
      </dgm:t>
    </dgm:pt>
    <dgm:pt modelId="{62DBDB8D-C95D-44A4-AA8C-F7CBB61A5257}" type="sibTrans" cxnId="{69466B46-8999-4795-8DF7-9586CBFA6448}">
      <dgm:prSet/>
      <dgm:spPr/>
      <dgm:t>
        <a:bodyPr/>
        <a:lstStyle/>
        <a:p>
          <a:endParaRPr lang="el-GR"/>
        </a:p>
      </dgm:t>
    </dgm:pt>
    <dgm:pt modelId="{1C3D091E-8671-4EF6-9634-24F068F694A5}">
      <dgm:prSet custT="1"/>
      <dgm:spPr/>
      <dgm:t>
        <a:bodyPr/>
        <a:lstStyle/>
        <a:p>
          <a:r>
            <a:rPr lang="el-GR" sz="1800" dirty="0"/>
            <a:t>Ελεύθερη επιλογή </a:t>
          </a:r>
          <a:r>
            <a:rPr lang="el-GR" sz="1800" dirty="0" err="1"/>
            <a:t>παροχέα</a:t>
          </a:r>
          <a:endParaRPr lang="en-GB" sz="1800" dirty="0"/>
        </a:p>
      </dgm:t>
    </dgm:pt>
    <dgm:pt modelId="{BE2E714F-725C-438D-96A8-1A3BA4563263}" type="parTrans" cxnId="{C1DD238F-52BA-4177-975E-608CEEA8658B}">
      <dgm:prSet/>
      <dgm:spPr/>
      <dgm:t>
        <a:bodyPr/>
        <a:lstStyle/>
        <a:p>
          <a:endParaRPr lang="el-GR"/>
        </a:p>
      </dgm:t>
    </dgm:pt>
    <dgm:pt modelId="{D65F0E59-C0EF-4753-83ED-3191AAA246DA}" type="sibTrans" cxnId="{C1DD238F-52BA-4177-975E-608CEEA8658B}">
      <dgm:prSet/>
      <dgm:spPr/>
      <dgm:t>
        <a:bodyPr/>
        <a:lstStyle/>
        <a:p>
          <a:endParaRPr lang="el-GR"/>
        </a:p>
      </dgm:t>
    </dgm:pt>
    <dgm:pt modelId="{737AF750-A19B-42A3-B3C0-6E3A4B4568EC}">
      <dgm:prSet custT="1"/>
      <dgm:spPr/>
      <dgm:t>
        <a:bodyPr/>
        <a:lstStyle/>
        <a:p>
          <a:endParaRPr lang="en-GB" sz="1800" dirty="0"/>
        </a:p>
      </dgm:t>
    </dgm:pt>
    <dgm:pt modelId="{5F61C702-C341-47D4-A376-872D386F0FDE}" type="parTrans" cxnId="{FA5BF1F7-1E0E-4B74-BDFC-E07FC89130C6}">
      <dgm:prSet/>
      <dgm:spPr/>
      <dgm:t>
        <a:bodyPr/>
        <a:lstStyle/>
        <a:p>
          <a:endParaRPr lang="el-GR"/>
        </a:p>
      </dgm:t>
    </dgm:pt>
    <dgm:pt modelId="{ADDE34D3-F447-4CCF-B392-7BB772D96CFE}" type="sibTrans" cxnId="{FA5BF1F7-1E0E-4B74-BDFC-E07FC89130C6}">
      <dgm:prSet/>
      <dgm:spPr/>
      <dgm:t>
        <a:bodyPr/>
        <a:lstStyle/>
        <a:p>
          <a:endParaRPr lang="el-GR"/>
        </a:p>
      </dgm:t>
    </dgm:pt>
    <dgm:pt modelId="{3AEB69E4-DAAF-4EC2-BE50-C922B583AD6D}">
      <dgm:prSet custT="1"/>
      <dgm:spPr/>
      <dgm:t>
        <a:bodyPr/>
        <a:lstStyle/>
        <a:p>
          <a:r>
            <a:rPr lang="el-GR" sz="1800" dirty="0"/>
            <a:t>Ολοκληρωμένο φάσμα υπηρεσιών υγείας</a:t>
          </a:r>
          <a:endParaRPr lang="en-GB" sz="1800" dirty="0"/>
        </a:p>
      </dgm:t>
    </dgm:pt>
    <dgm:pt modelId="{38AE4434-38B8-4BF5-872D-DE65369CE124}" type="parTrans" cxnId="{6F1E5B60-3D57-4F7A-8917-FF2027F602D0}">
      <dgm:prSet/>
      <dgm:spPr/>
      <dgm:t>
        <a:bodyPr/>
        <a:lstStyle/>
        <a:p>
          <a:endParaRPr lang="el-GR"/>
        </a:p>
      </dgm:t>
    </dgm:pt>
    <dgm:pt modelId="{B5870E14-7055-444C-9A35-991E3B30500A}" type="sibTrans" cxnId="{6F1E5B60-3D57-4F7A-8917-FF2027F602D0}">
      <dgm:prSet/>
      <dgm:spPr/>
      <dgm:t>
        <a:bodyPr/>
        <a:lstStyle/>
        <a:p>
          <a:endParaRPr lang="el-GR"/>
        </a:p>
      </dgm:t>
    </dgm:pt>
    <dgm:pt modelId="{54E314EB-8A82-4312-8D07-52205310E3DF}">
      <dgm:prSet custT="1"/>
      <dgm:spPr/>
      <dgm:t>
        <a:bodyPr/>
        <a:lstStyle/>
        <a:p>
          <a:endParaRPr lang="en-GB" sz="1800" dirty="0"/>
        </a:p>
      </dgm:t>
    </dgm:pt>
    <dgm:pt modelId="{98E25DC3-95D4-4067-819F-182369DE73BA}" type="parTrans" cxnId="{66C0E752-CA76-4B59-BCD7-5179E0EEB977}">
      <dgm:prSet/>
      <dgm:spPr/>
      <dgm:t>
        <a:bodyPr/>
        <a:lstStyle/>
        <a:p>
          <a:endParaRPr lang="el-GR"/>
        </a:p>
      </dgm:t>
    </dgm:pt>
    <dgm:pt modelId="{9C7474DF-46A1-4719-9770-C305236B6879}" type="sibTrans" cxnId="{66C0E752-CA76-4B59-BCD7-5179E0EEB977}">
      <dgm:prSet/>
      <dgm:spPr/>
      <dgm:t>
        <a:bodyPr/>
        <a:lstStyle/>
        <a:p>
          <a:endParaRPr lang="el-GR"/>
        </a:p>
      </dgm:t>
    </dgm:pt>
    <dgm:pt modelId="{8753A280-AD94-4F69-9B66-006069121ACB}">
      <dgm:prSet custT="1"/>
      <dgm:spPr/>
      <dgm:t>
        <a:bodyPr/>
        <a:lstStyle/>
        <a:p>
          <a:r>
            <a:rPr lang="el-GR" sz="1800" dirty="0"/>
            <a:t>Οργανωμένη πρόληψη</a:t>
          </a:r>
          <a:endParaRPr lang="en-GB" sz="1800" dirty="0"/>
        </a:p>
      </dgm:t>
    </dgm:pt>
    <dgm:pt modelId="{7C830516-9D57-4E57-A929-9FEA15FF632F}" type="parTrans" cxnId="{3F5C8A06-F9DA-402E-9D56-F7005D75A9E2}">
      <dgm:prSet/>
      <dgm:spPr/>
      <dgm:t>
        <a:bodyPr/>
        <a:lstStyle/>
        <a:p>
          <a:endParaRPr lang="el-GR"/>
        </a:p>
      </dgm:t>
    </dgm:pt>
    <dgm:pt modelId="{913A2B7E-9112-4576-A9AD-09C576BBCFC6}" type="sibTrans" cxnId="{3F5C8A06-F9DA-402E-9D56-F7005D75A9E2}">
      <dgm:prSet/>
      <dgm:spPr/>
      <dgm:t>
        <a:bodyPr/>
        <a:lstStyle/>
        <a:p>
          <a:endParaRPr lang="el-GR"/>
        </a:p>
      </dgm:t>
    </dgm:pt>
    <dgm:pt modelId="{03E1C59D-3186-4718-91FB-D33000B745A7}">
      <dgm:prSet custT="1"/>
      <dgm:spPr/>
      <dgm:t>
        <a:bodyPr/>
        <a:lstStyle/>
        <a:p>
          <a:endParaRPr lang="en-GB" sz="1800" dirty="0"/>
        </a:p>
      </dgm:t>
    </dgm:pt>
    <dgm:pt modelId="{9E191FFA-6019-4C0A-90C3-6C816FF013B7}" type="parTrans" cxnId="{CC1D0C9E-A446-44FF-A140-BABDE4D838CD}">
      <dgm:prSet/>
      <dgm:spPr/>
      <dgm:t>
        <a:bodyPr/>
        <a:lstStyle/>
        <a:p>
          <a:endParaRPr lang="el-GR"/>
        </a:p>
      </dgm:t>
    </dgm:pt>
    <dgm:pt modelId="{257E1F4F-3DB9-4758-BED4-D1BD6EE26580}" type="sibTrans" cxnId="{CC1D0C9E-A446-44FF-A140-BABDE4D838CD}">
      <dgm:prSet/>
      <dgm:spPr/>
      <dgm:t>
        <a:bodyPr/>
        <a:lstStyle/>
        <a:p>
          <a:endParaRPr lang="el-GR"/>
        </a:p>
      </dgm:t>
    </dgm:pt>
    <dgm:pt modelId="{D2E241D2-2107-48B1-A39C-A5C06767CA27}">
      <dgm:prSet custT="1"/>
      <dgm:spPr/>
      <dgm:t>
        <a:bodyPr/>
        <a:lstStyle/>
        <a:p>
          <a:r>
            <a:rPr lang="el-GR" sz="1800" dirty="0"/>
            <a:t>Δημιουργία Ηλεκτρονικού Φακέλου Ασθενή</a:t>
          </a:r>
          <a:endParaRPr lang="en-GB" sz="1800" dirty="0"/>
        </a:p>
      </dgm:t>
    </dgm:pt>
    <dgm:pt modelId="{F509A208-1E15-41ED-8483-7811F2502D77}" type="parTrans" cxnId="{8DDE38A8-568A-4265-B00A-A3111311B99A}">
      <dgm:prSet/>
      <dgm:spPr/>
      <dgm:t>
        <a:bodyPr/>
        <a:lstStyle/>
        <a:p>
          <a:endParaRPr lang="el-GR"/>
        </a:p>
      </dgm:t>
    </dgm:pt>
    <dgm:pt modelId="{67526111-E574-4900-AB9C-A9F517F768F1}" type="sibTrans" cxnId="{8DDE38A8-568A-4265-B00A-A3111311B99A}">
      <dgm:prSet/>
      <dgm:spPr/>
      <dgm:t>
        <a:bodyPr/>
        <a:lstStyle/>
        <a:p>
          <a:endParaRPr lang="el-GR"/>
        </a:p>
      </dgm:t>
    </dgm:pt>
    <dgm:pt modelId="{1B1F8035-57C5-4C20-A58F-051271A069F1}">
      <dgm:prSet custT="1"/>
      <dgm:spPr/>
      <dgm:t>
        <a:bodyPr/>
        <a:lstStyle/>
        <a:p>
          <a:endParaRPr lang="en-GB" sz="1800" dirty="0"/>
        </a:p>
      </dgm:t>
    </dgm:pt>
    <dgm:pt modelId="{55B9046D-6D0F-45A9-ADF5-66E538649050}" type="parTrans" cxnId="{47B13A82-46B4-47F1-BABA-0A92487D50A3}">
      <dgm:prSet/>
      <dgm:spPr/>
      <dgm:t>
        <a:bodyPr/>
        <a:lstStyle/>
        <a:p>
          <a:endParaRPr lang="el-GR"/>
        </a:p>
      </dgm:t>
    </dgm:pt>
    <dgm:pt modelId="{A8CC4286-418D-493A-9B61-1C1D263CACD9}" type="sibTrans" cxnId="{47B13A82-46B4-47F1-BABA-0A92487D50A3}">
      <dgm:prSet/>
      <dgm:spPr/>
      <dgm:t>
        <a:bodyPr/>
        <a:lstStyle/>
        <a:p>
          <a:endParaRPr lang="el-GR"/>
        </a:p>
      </dgm:t>
    </dgm:pt>
    <dgm:pt modelId="{46860FF8-175C-41A5-84AB-9DA3AA7A02B4}">
      <dgm:prSet custT="1"/>
      <dgm:spPr/>
      <dgm:t>
        <a:bodyPr/>
        <a:lstStyle/>
        <a:p>
          <a:r>
            <a:rPr lang="el-GR" sz="1800" dirty="0"/>
            <a:t>Διαφάνεια</a:t>
          </a:r>
          <a:endParaRPr lang="en-GB" sz="1800" dirty="0"/>
        </a:p>
      </dgm:t>
    </dgm:pt>
    <dgm:pt modelId="{82A86277-54DB-4627-ADB0-543C6E6F6DE2}" type="parTrans" cxnId="{87986030-5B37-4FAA-97EE-BA6551A85617}">
      <dgm:prSet/>
      <dgm:spPr/>
      <dgm:t>
        <a:bodyPr/>
        <a:lstStyle/>
        <a:p>
          <a:endParaRPr lang="el-GR"/>
        </a:p>
      </dgm:t>
    </dgm:pt>
    <dgm:pt modelId="{D1764E8A-C7E1-4E36-98F2-C6D0011D7C08}" type="sibTrans" cxnId="{87986030-5B37-4FAA-97EE-BA6551A85617}">
      <dgm:prSet/>
      <dgm:spPr/>
      <dgm:t>
        <a:bodyPr/>
        <a:lstStyle/>
        <a:p>
          <a:endParaRPr lang="el-GR"/>
        </a:p>
      </dgm:t>
    </dgm:pt>
    <dgm:pt modelId="{46A0EDB4-C68A-4B53-8432-3A87131A2B55}">
      <dgm:prSet custT="1"/>
      <dgm:spPr/>
      <dgm:t>
        <a:bodyPr/>
        <a:lstStyle/>
        <a:p>
          <a:endParaRPr lang="en-GB" sz="1800" dirty="0"/>
        </a:p>
      </dgm:t>
    </dgm:pt>
    <dgm:pt modelId="{54A01EFD-EED4-423A-BC54-B9037F576B48}" type="parTrans" cxnId="{12BEB64F-FF08-435C-9264-BF1D356265D4}">
      <dgm:prSet/>
      <dgm:spPr/>
      <dgm:t>
        <a:bodyPr/>
        <a:lstStyle/>
        <a:p>
          <a:endParaRPr lang="el-GR"/>
        </a:p>
      </dgm:t>
    </dgm:pt>
    <dgm:pt modelId="{C1A0640F-5676-4E9F-841F-2059484FDE40}" type="sibTrans" cxnId="{12BEB64F-FF08-435C-9264-BF1D356265D4}">
      <dgm:prSet/>
      <dgm:spPr/>
      <dgm:t>
        <a:bodyPr/>
        <a:lstStyle/>
        <a:p>
          <a:endParaRPr lang="el-GR"/>
        </a:p>
      </dgm:t>
    </dgm:pt>
    <dgm:pt modelId="{889FBA52-E276-4994-A81B-EE99878C86CE}">
      <dgm:prSet custT="1"/>
      <dgm:spPr/>
      <dgm:t>
        <a:bodyPr/>
        <a:lstStyle/>
        <a:p>
          <a:r>
            <a:rPr lang="el-GR" sz="1800" dirty="0"/>
            <a:t>Μηχανισμοί Ελέγχου και Εποπτείας</a:t>
          </a:r>
          <a:endParaRPr lang="en-GB" sz="1800" dirty="0"/>
        </a:p>
      </dgm:t>
    </dgm:pt>
    <dgm:pt modelId="{106FB343-FBDC-49A2-81E3-918D5DCBBB22}" type="parTrans" cxnId="{B646862C-6DE7-4C9C-A2EE-309EA6DE4EEA}">
      <dgm:prSet/>
      <dgm:spPr/>
      <dgm:t>
        <a:bodyPr/>
        <a:lstStyle/>
        <a:p>
          <a:endParaRPr lang="el-GR"/>
        </a:p>
      </dgm:t>
    </dgm:pt>
    <dgm:pt modelId="{53773F80-B5B5-43D6-97C0-FB7A5432FB6F}" type="sibTrans" cxnId="{B646862C-6DE7-4C9C-A2EE-309EA6DE4EEA}">
      <dgm:prSet/>
      <dgm:spPr/>
      <dgm:t>
        <a:bodyPr/>
        <a:lstStyle/>
        <a:p>
          <a:endParaRPr lang="el-GR"/>
        </a:p>
      </dgm:t>
    </dgm:pt>
    <dgm:pt modelId="{FE895929-526E-48A2-B0C9-921A114D2B79}" type="pres">
      <dgm:prSet presAssocID="{90A3B86F-1B89-49E2-A03A-732D79C6FA2C}" presName="linear" presStyleCnt="0">
        <dgm:presLayoutVars>
          <dgm:dir/>
          <dgm:animLvl val="lvl"/>
          <dgm:resizeHandles val="exact"/>
        </dgm:presLayoutVars>
      </dgm:prSet>
      <dgm:spPr/>
    </dgm:pt>
    <dgm:pt modelId="{18FDF286-5C04-4AB2-A61D-57D074DB730B}" type="pres">
      <dgm:prSet presAssocID="{B852C51C-FF58-4759-B9B4-B19E49C1B586}" presName="parentLin" presStyleCnt="0"/>
      <dgm:spPr/>
    </dgm:pt>
    <dgm:pt modelId="{BB2631D8-A884-455F-994E-75F4EAA355BE}" type="pres">
      <dgm:prSet presAssocID="{B852C51C-FF58-4759-B9B4-B19E49C1B586}" presName="parentLeftMargin" presStyleLbl="node1" presStyleIdx="0" presStyleCnt="1"/>
      <dgm:spPr/>
    </dgm:pt>
    <dgm:pt modelId="{BF8B7000-A51B-4F51-A772-501A4DB964BB}" type="pres">
      <dgm:prSet presAssocID="{B852C51C-FF58-4759-B9B4-B19E49C1B586}" presName="parentText" presStyleLbl="node1" presStyleIdx="0" presStyleCnt="1" custScaleX="133180" custScaleY="457878" custLinFactNeighborX="-100000" custLinFactNeighborY="-10843">
        <dgm:presLayoutVars>
          <dgm:chMax val="0"/>
          <dgm:bulletEnabled val="1"/>
        </dgm:presLayoutVars>
      </dgm:prSet>
      <dgm:spPr/>
    </dgm:pt>
    <dgm:pt modelId="{476089C3-D3D7-44ED-A694-9521C95FD0E0}" type="pres">
      <dgm:prSet presAssocID="{B852C51C-FF58-4759-B9B4-B19E49C1B586}" presName="negativeSpace" presStyleCnt="0"/>
      <dgm:spPr/>
    </dgm:pt>
    <dgm:pt modelId="{E2FBD992-35E0-4F6B-881F-0407213D2633}" type="pres">
      <dgm:prSet presAssocID="{B852C51C-FF58-4759-B9B4-B19E49C1B586}" presName="childText" presStyleLbl="conFgAcc1" presStyleIdx="0" presStyleCnt="1" custScaleY="2000000" custLinFactY="-110423" custLinFactNeighborX="-127" custLinFactNeighborY="-200000">
        <dgm:presLayoutVars>
          <dgm:bulletEnabled val="1"/>
        </dgm:presLayoutVars>
      </dgm:prSet>
      <dgm:spPr/>
    </dgm:pt>
  </dgm:ptLst>
  <dgm:cxnLst>
    <dgm:cxn modelId="{D5A4F600-64E3-435B-95A5-EE6077B212DC}" type="presOf" srcId="{1C3D091E-8671-4EF6-9634-24F068F694A5}" destId="{E2FBD992-35E0-4F6B-881F-0407213D2633}" srcOrd="0" destOrd="5" presId="urn:microsoft.com/office/officeart/2005/8/layout/list1"/>
    <dgm:cxn modelId="{81B91503-E518-4FB3-B53A-38FFCC683653}" type="presOf" srcId="{BB12FB23-E923-42E2-A26C-22330CEEA0E0}" destId="{E2FBD992-35E0-4F6B-881F-0407213D2633}" srcOrd="0" destOrd="3" presId="urn:microsoft.com/office/officeart/2005/8/layout/list1"/>
    <dgm:cxn modelId="{3F5C8A06-F9DA-402E-9D56-F7005D75A9E2}" srcId="{B852C51C-FF58-4759-B9B4-B19E49C1B586}" destId="{8753A280-AD94-4F69-9B66-006069121ACB}" srcOrd="9" destOrd="0" parTransId="{7C830516-9D57-4E57-A929-9FEA15FF632F}" sibTransId="{913A2B7E-9112-4576-A9AD-09C576BBCFC6}"/>
    <dgm:cxn modelId="{C1E5E218-1F4D-4D6C-B686-373AA9A70C21}" srcId="{90A3B86F-1B89-49E2-A03A-732D79C6FA2C}" destId="{B852C51C-FF58-4759-B9B4-B19E49C1B586}" srcOrd="0" destOrd="0" parTransId="{D3B39EF6-92E6-4C10-9EF0-F332E9E6D852}" sibTransId="{6E1629A5-BB94-4DF2-A620-A48A38A59045}"/>
    <dgm:cxn modelId="{64CD452A-1EBA-467C-9892-C9EC78F7754C}" srcId="{B852C51C-FF58-4759-B9B4-B19E49C1B586}" destId="{BB12FB23-E923-42E2-A26C-22330CEEA0E0}" srcOrd="3" destOrd="0" parTransId="{CA98ECD5-E3C6-4D8C-8F7F-97405CDA477C}" sibTransId="{6D20FB87-56CF-48D5-AEA1-BEE7967FAF6E}"/>
    <dgm:cxn modelId="{B646862C-6DE7-4C9C-A2EE-309EA6DE4EEA}" srcId="{B852C51C-FF58-4759-B9B4-B19E49C1B586}" destId="{889FBA52-E276-4994-A81B-EE99878C86CE}" srcOrd="15" destOrd="0" parTransId="{106FB343-FBDC-49A2-81E3-918D5DCBBB22}" sibTransId="{53773F80-B5B5-43D6-97C0-FB7A5432FB6F}"/>
    <dgm:cxn modelId="{87986030-5B37-4FAA-97EE-BA6551A85617}" srcId="{B852C51C-FF58-4759-B9B4-B19E49C1B586}" destId="{46860FF8-175C-41A5-84AB-9DA3AA7A02B4}" srcOrd="13" destOrd="0" parTransId="{82A86277-54DB-4627-ADB0-543C6E6F6DE2}" sibTransId="{D1764E8A-C7E1-4E36-98F2-C6D0011D7C08}"/>
    <dgm:cxn modelId="{22E81D38-F7F6-41B7-A235-9B5FEEABDC42}" srcId="{B852C51C-FF58-4759-B9B4-B19E49C1B586}" destId="{E7133C70-2A6F-403D-8A70-5DB0895242BD}" srcOrd="1" destOrd="0" parTransId="{11D607FD-2F79-4109-A026-1BCF803704E4}" sibTransId="{4E0C09DB-56EC-44DF-AA04-E6F0CAFB9A28}"/>
    <dgm:cxn modelId="{06092E3A-F35F-499B-B41C-BB7C1F6DED31}" type="presOf" srcId="{737AF750-A19B-42A3-B3C0-6E3A4B4568EC}" destId="{E2FBD992-35E0-4F6B-881F-0407213D2633}" srcOrd="0" destOrd="6" presId="urn:microsoft.com/office/officeart/2005/8/layout/list1"/>
    <dgm:cxn modelId="{6F1E5B60-3D57-4F7A-8917-FF2027F602D0}" srcId="{B852C51C-FF58-4759-B9B4-B19E49C1B586}" destId="{3AEB69E4-DAAF-4EC2-BE50-C922B583AD6D}" srcOrd="7" destOrd="0" parTransId="{38AE4434-38B8-4BF5-872D-DE65369CE124}" sibTransId="{B5870E14-7055-444C-9A35-991E3B30500A}"/>
    <dgm:cxn modelId="{F5A76A66-7D94-4FB6-A7FF-3023679093E9}" type="presOf" srcId="{03E1C59D-3186-4718-91FB-D33000B745A7}" destId="{E2FBD992-35E0-4F6B-881F-0407213D2633}" srcOrd="0" destOrd="10" presId="urn:microsoft.com/office/officeart/2005/8/layout/list1"/>
    <dgm:cxn modelId="{69466B46-8999-4795-8DF7-9586CBFA6448}" srcId="{B852C51C-FF58-4759-B9B4-B19E49C1B586}" destId="{BAE6578D-3256-4A55-AA6E-44924DB3E8C1}" srcOrd="4" destOrd="0" parTransId="{0673A3C6-4367-4E70-BD42-0B2AA2FA4275}" sibTransId="{62DBDB8D-C95D-44A4-AA8C-F7CBB61A5257}"/>
    <dgm:cxn modelId="{4DFFC346-8871-4BF5-8451-4DCA8CDACFBA}" srcId="{B852C51C-FF58-4759-B9B4-B19E49C1B586}" destId="{1E797ED3-CC39-4EF6-B3E1-1497783BE21E}" srcOrd="0" destOrd="0" parTransId="{398E07F2-FA49-455D-92AE-3FAA7FA941FD}" sibTransId="{DF28CB8D-AAE2-4EC8-A8B1-E47A0239A337}"/>
    <dgm:cxn modelId="{06798E49-4529-4F89-A9F4-06CEAE160661}" type="presOf" srcId="{BAE6578D-3256-4A55-AA6E-44924DB3E8C1}" destId="{E2FBD992-35E0-4F6B-881F-0407213D2633}" srcOrd="0" destOrd="4" presId="urn:microsoft.com/office/officeart/2005/8/layout/list1"/>
    <dgm:cxn modelId="{0664676F-1030-43B1-AA07-12A0B6A237E9}" srcId="{B852C51C-FF58-4759-B9B4-B19E49C1B586}" destId="{305633B2-4CB6-4AF1-9180-2F8683CD4267}" srcOrd="2" destOrd="0" parTransId="{B9F44724-3EAD-4FE2-925D-19E41ED8BCD8}" sibTransId="{CE5A512A-5034-4AEE-AD09-F9F37BC9A935}"/>
    <dgm:cxn modelId="{12BEB64F-FF08-435C-9264-BF1D356265D4}" srcId="{B852C51C-FF58-4759-B9B4-B19E49C1B586}" destId="{46A0EDB4-C68A-4B53-8432-3A87131A2B55}" srcOrd="14" destOrd="0" parTransId="{54A01EFD-EED4-423A-BC54-B9037F576B48}" sibTransId="{C1A0640F-5676-4E9F-841F-2059484FDE40}"/>
    <dgm:cxn modelId="{66C0E752-CA76-4B59-BCD7-5179E0EEB977}" srcId="{B852C51C-FF58-4759-B9B4-B19E49C1B586}" destId="{54E314EB-8A82-4312-8D07-52205310E3DF}" srcOrd="8" destOrd="0" parTransId="{98E25DC3-95D4-4067-819F-182369DE73BA}" sibTransId="{9C7474DF-46A1-4719-9770-C305236B6879}"/>
    <dgm:cxn modelId="{23D93273-9575-4614-A618-B1CEBD5ABB59}" type="presOf" srcId="{D2E241D2-2107-48B1-A39C-A5C06767CA27}" destId="{E2FBD992-35E0-4F6B-881F-0407213D2633}" srcOrd="0" destOrd="11" presId="urn:microsoft.com/office/officeart/2005/8/layout/list1"/>
    <dgm:cxn modelId="{D9944375-72DD-4C5B-B262-C9879199E732}" type="presOf" srcId="{889FBA52-E276-4994-A81B-EE99878C86CE}" destId="{E2FBD992-35E0-4F6B-881F-0407213D2633}" srcOrd="0" destOrd="15" presId="urn:microsoft.com/office/officeart/2005/8/layout/list1"/>
    <dgm:cxn modelId="{022DA775-4FAE-4913-9F68-F64DC7DA5AEE}" type="presOf" srcId="{46860FF8-175C-41A5-84AB-9DA3AA7A02B4}" destId="{E2FBD992-35E0-4F6B-881F-0407213D2633}" srcOrd="0" destOrd="13" presId="urn:microsoft.com/office/officeart/2005/8/layout/list1"/>
    <dgm:cxn modelId="{E6D62C77-7CAC-4845-874D-085FA5EA42A6}" type="presOf" srcId="{46A0EDB4-C68A-4B53-8432-3A87131A2B55}" destId="{E2FBD992-35E0-4F6B-881F-0407213D2633}" srcOrd="0" destOrd="14" presId="urn:microsoft.com/office/officeart/2005/8/layout/list1"/>
    <dgm:cxn modelId="{A708697A-476B-4C2C-AD5D-6D4C9C69C011}" type="presOf" srcId="{1E797ED3-CC39-4EF6-B3E1-1497783BE21E}" destId="{E2FBD992-35E0-4F6B-881F-0407213D2633}" srcOrd="0" destOrd="0" presId="urn:microsoft.com/office/officeart/2005/8/layout/list1"/>
    <dgm:cxn modelId="{47B13A82-46B4-47F1-BABA-0A92487D50A3}" srcId="{B852C51C-FF58-4759-B9B4-B19E49C1B586}" destId="{1B1F8035-57C5-4C20-A58F-051271A069F1}" srcOrd="12" destOrd="0" parTransId="{55B9046D-6D0F-45A9-ADF5-66E538649050}" sibTransId="{A8CC4286-418D-493A-9B61-1C1D263CACD9}"/>
    <dgm:cxn modelId="{DB4A7B8D-B052-4A13-B380-0091816E2CEB}" type="presOf" srcId="{90A3B86F-1B89-49E2-A03A-732D79C6FA2C}" destId="{FE895929-526E-48A2-B0C9-921A114D2B79}" srcOrd="0" destOrd="0" presId="urn:microsoft.com/office/officeart/2005/8/layout/list1"/>
    <dgm:cxn modelId="{C1DD238F-52BA-4177-975E-608CEEA8658B}" srcId="{B852C51C-FF58-4759-B9B4-B19E49C1B586}" destId="{1C3D091E-8671-4EF6-9634-24F068F694A5}" srcOrd="5" destOrd="0" parTransId="{BE2E714F-725C-438D-96A8-1A3BA4563263}" sibTransId="{D65F0E59-C0EF-4753-83ED-3191AAA246DA}"/>
    <dgm:cxn modelId="{D6B11C9B-574E-4FDF-BFB0-530F84B646B3}" type="presOf" srcId="{B852C51C-FF58-4759-B9B4-B19E49C1B586}" destId="{BF8B7000-A51B-4F51-A772-501A4DB964BB}" srcOrd="1" destOrd="0" presId="urn:microsoft.com/office/officeart/2005/8/layout/list1"/>
    <dgm:cxn modelId="{CC1D0C9E-A446-44FF-A140-BABDE4D838CD}" srcId="{B852C51C-FF58-4759-B9B4-B19E49C1B586}" destId="{03E1C59D-3186-4718-91FB-D33000B745A7}" srcOrd="10" destOrd="0" parTransId="{9E191FFA-6019-4C0A-90C3-6C816FF013B7}" sibTransId="{257E1F4F-3DB9-4758-BED4-D1BD6EE26580}"/>
    <dgm:cxn modelId="{8DDE38A8-568A-4265-B00A-A3111311B99A}" srcId="{B852C51C-FF58-4759-B9B4-B19E49C1B586}" destId="{D2E241D2-2107-48B1-A39C-A5C06767CA27}" srcOrd="11" destOrd="0" parTransId="{F509A208-1E15-41ED-8483-7811F2502D77}" sibTransId="{67526111-E574-4900-AB9C-A9F517F768F1}"/>
    <dgm:cxn modelId="{6CD3E4B3-EDC4-4BC2-8246-F96D49D62BC4}" type="presOf" srcId="{3AEB69E4-DAAF-4EC2-BE50-C922B583AD6D}" destId="{E2FBD992-35E0-4F6B-881F-0407213D2633}" srcOrd="0" destOrd="7" presId="urn:microsoft.com/office/officeart/2005/8/layout/list1"/>
    <dgm:cxn modelId="{3E7F40C4-C170-4FED-9693-DF8DD4CA6C47}" type="presOf" srcId="{B852C51C-FF58-4759-B9B4-B19E49C1B586}" destId="{BB2631D8-A884-455F-994E-75F4EAA355BE}" srcOrd="0" destOrd="0" presId="urn:microsoft.com/office/officeart/2005/8/layout/list1"/>
    <dgm:cxn modelId="{59235CC4-FE02-4B28-957A-37F4396AB852}" type="presOf" srcId="{305633B2-4CB6-4AF1-9180-2F8683CD4267}" destId="{E2FBD992-35E0-4F6B-881F-0407213D2633}" srcOrd="0" destOrd="2" presId="urn:microsoft.com/office/officeart/2005/8/layout/list1"/>
    <dgm:cxn modelId="{908371C9-7C96-4370-A5AA-46BB7FD008EF}" type="presOf" srcId="{54E314EB-8A82-4312-8D07-52205310E3DF}" destId="{E2FBD992-35E0-4F6B-881F-0407213D2633}" srcOrd="0" destOrd="8" presId="urn:microsoft.com/office/officeart/2005/8/layout/list1"/>
    <dgm:cxn modelId="{D94A9DD5-5E54-4481-AB98-AEEBFFABE025}" type="presOf" srcId="{8753A280-AD94-4F69-9B66-006069121ACB}" destId="{E2FBD992-35E0-4F6B-881F-0407213D2633}" srcOrd="0" destOrd="9" presId="urn:microsoft.com/office/officeart/2005/8/layout/list1"/>
    <dgm:cxn modelId="{CB3A63E1-84BF-40BE-84BC-A171F2D2D6EF}" type="presOf" srcId="{E7133C70-2A6F-403D-8A70-5DB0895242BD}" destId="{E2FBD992-35E0-4F6B-881F-0407213D2633}" srcOrd="0" destOrd="1" presId="urn:microsoft.com/office/officeart/2005/8/layout/list1"/>
    <dgm:cxn modelId="{99EEE2E6-3FA1-40B5-A430-314EAF8F0F85}" type="presOf" srcId="{1B1F8035-57C5-4C20-A58F-051271A069F1}" destId="{E2FBD992-35E0-4F6B-881F-0407213D2633}" srcOrd="0" destOrd="12" presId="urn:microsoft.com/office/officeart/2005/8/layout/list1"/>
    <dgm:cxn modelId="{FA5BF1F7-1E0E-4B74-BDFC-E07FC89130C6}" srcId="{B852C51C-FF58-4759-B9B4-B19E49C1B586}" destId="{737AF750-A19B-42A3-B3C0-6E3A4B4568EC}" srcOrd="6" destOrd="0" parTransId="{5F61C702-C341-47D4-A376-872D386F0FDE}" sibTransId="{ADDE34D3-F447-4CCF-B392-7BB772D96CFE}"/>
    <dgm:cxn modelId="{91CDF56F-07BF-41E2-829F-A5E2D40DF11A}" type="presParOf" srcId="{FE895929-526E-48A2-B0C9-921A114D2B79}" destId="{18FDF286-5C04-4AB2-A61D-57D074DB730B}" srcOrd="0" destOrd="0" presId="urn:microsoft.com/office/officeart/2005/8/layout/list1"/>
    <dgm:cxn modelId="{EA7E02F7-7E2B-4C97-B42B-486C4DFB5BF6}" type="presParOf" srcId="{18FDF286-5C04-4AB2-A61D-57D074DB730B}" destId="{BB2631D8-A884-455F-994E-75F4EAA355BE}" srcOrd="0" destOrd="0" presId="urn:microsoft.com/office/officeart/2005/8/layout/list1"/>
    <dgm:cxn modelId="{6934FE98-7A69-443C-8EAE-FB5A41EE6159}" type="presParOf" srcId="{18FDF286-5C04-4AB2-A61D-57D074DB730B}" destId="{BF8B7000-A51B-4F51-A772-501A4DB964BB}" srcOrd="1" destOrd="0" presId="urn:microsoft.com/office/officeart/2005/8/layout/list1"/>
    <dgm:cxn modelId="{00D7F734-820D-4F96-BE4A-BBDC4849156E}" type="presParOf" srcId="{FE895929-526E-48A2-B0C9-921A114D2B79}" destId="{476089C3-D3D7-44ED-A694-9521C95FD0E0}" srcOrd="1" destOrd="0" presId="urn:microsoft.com/office/officeart/2005/8/layout/list1"/>
    <dgm:cxn modelId="{D1FCF9A9-970C-4F4B-AD9B-65323601CCC4}" type="presParOf" srcId="{FE895929-526E-48A2-B0C9-921A114D2B79}" destId="{E2FBD992-35E0-4F6B-881F-0407213D2633}"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1DD07DA-DA4A-428E-BB14-1886BFE9F664}"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GB"/>
        </a:p>
      </dgm:t>
    </dgm:pt>
    <dgm:pt modelId="{0E85A69B-BD91-47F4-8E98-148FB71E7A5E}">
      <dgm:prSet phldrT="[Text]"/>
      <dgm:spPr/>
      <dgm:t>
        <a:bodyPr/>
        <a:lstStyle/>
        <a:p>
          <a:r>
            <a:rPr lang="el-GR" dirty="0">
              <a:sym typeface="Wingdings"/>
            </a:rPr>
            <a:t>Έχουν ως αποτέλεσμα:</a:t>
          </a:r>
          <a:endParaRPr lang="en-GB" dirty="0"/>
        </a:p>
      </dgm:t>
    </dgm:pt>
    <dgm:pt modelId="{ACBB7991-6AD1-481A-BAAF-40023B50DD10}" type="parTrans" cxnId="{AD47C797-3775-4E46-9CAF-03F4D4464B7C}">
      <dgm:prSet/>
      <dgm:spPr/>
      <dgm:t>
        <a:bodyPr/>
        <a:lstStyle/>
        <a:p>
          <a:endParaRPr lang="en-GB"/>
        </a:p>
      </dgm:t>
    </dgm:pt>
    <dgm:pt modelId="{267ECFAB-3D81-4CE0-A752-CE1C6595C7A5}" type="sibTrans" cxnId="{AD47C797-3775-4E46-9CAF-03F4D4464B7C}">
      <dgm:prSet/>
      <dgm:spPr/>
      <dgm:t>
        <a:bodyPr/>
        <a:lstStyle/>
        <a:p>
          <a:endParaRPr lang="en-GB"/>
        </a:p>
      </dgm:t>
    </dgm:pt>
    <dgm:pt modelId="{F4972477-2007-46E0-889F-12D7AC195D5A}">
      <dgm:prSet phldrT="[Text]"/>
      <dgm:spPr/>
      <dgm:t>
        <a:bodyPr/>
        <a:lstStyle/>
        <a:p>
          <a:r>
            <a:rPr lang="el-GR" dirty="0">
              <a:sym typeface="Wingdings"/>
            </a:rPr>
            <a:t>Ο τομέας της υγείας να καταρρέει</a:t>
          </a:r>
          <a:endParaRPr lang="en-GB" dirty="0"/>
        </a:p>
      </dgm:t>
    </dgm:pt>
    <dgm:pt modelId="{3E1DBF33-FCA2-4682-9A4F-877FA394AB4B}" type="parTrans" cxnId="{82D6E2E3-86B9-4CE7-8CCC-B82853AFCBF6}">
      <dgm:prSet/>
      <dgm:spPr/>
      <dgm:t>
        <a:bodyPr/>
        <a:lstStyle/>
        <a:p>
          <a:endParaRPr lang="en-GB"/>
        </a:p>
      </dgm:t>
    </dgm:pt>
    <dgm:pt modelId="{2DB9C7E4-1CD1-45B6-9B33-261FE563FEDA}" type="sibTrans" cxnId="{82D6E2E3-86B9-4CE7-8CCC-B82853AFCBF6}">
      <dgm:prSet/>
      <dgm:spPr/>
      <dgm:t>
        <a:bodyPr/>
        <a:lstStyle/>
        <a:p>
          <a:endParaRPr lang="en-GB"/>
        </a:p>
      </dgm:t>
    </dgm:pt>
    <dgm:pt modelId="{2F1D44A5-DAE9-4386-AF00-8D5B8B36373A}">
      <dgm:prSet phldrT="[Text]"/>
      <dgm:spPr/>
      <dgm:t>
        <a:bodyPr/>
        <a:lstStyle/>
        <a:p>
          <a:r>
            <a:rPr lang="el-GR" dirty="0">
              <a:sym typeface="Wingdings"/>
            </a:rPr>
            <a:t>Η ανάγκη για συνολική μεταρρύθμιση είναι </a:t>
          </a:r>
          <a:r>
            <a:rPr lang="el-GR" u="sng" dirty="0">
              <a:sym typeface="Wingdings"/>
            </a:rPr>
            <a:t>επιτακτική</a:t>
          </a:r>
          <a:r>
            <a:rPr lang="el-GR" dirty="0">
              <a:sym typeface="Wingdings"/>
            </a:rPr>
            <a:t> και </a:t>
          </a:r>
          <a:r>
            <a:rPr lang="el-GR" u="sng" dirty="0">
              <a:sym typeface="Wingdings"/>
            </a:rPr>
            <a:t>άμεση</a:t>
          </a:r>
          <a:endParaRPr lang="en-GB" dirty="0"/>
        </a:p>
      </dgm:t>
    </dgm:pt>
    <dgm:pt modelId="{DCA56124-C9CA-4D32-9ABD-305F4FE66A8F}" type="parTrans" cxnId="{CAA3ABA2-A54D-47D2-B92B-49D8AF587C50}">
      <dgm:prSet/>
      <dgm:spPr/>
      <dgm:t>
        <a:bodyPr/>
        <a:lstStyle/>
        <a:p>
          <a:endParaRPr lang="en-GB"/>
        </a:p>
      </dgm:t>
    </dgm:pt>
    <dgm:pt modelId="{1D1ECA39-7457-48E9-906A-16269A5C7F48}" type="sibTrans" cxnId="{CAA3ABA2-A54D-47D2-B92B-49D8AF587C50}">
      <dgm:prSet/>
      <dgm:spPr/>
      <dgm:t>
        <a:bodyPr/>
        <a:lstStyle/>
        <a:p>
          <a:endParaRPr lang="en-GB"/>
        </a:p>
      </dgm:t>
    </dgm:pt>
    <dgm:pt modelId="{7B01D848-3E9B-47FD-8F5E-469B1A44D988}" type="pres">
      <dgm:prSet presAssocID="{D1DD07DA-DA4A-428E-BB14-1886BFE9F664}" presName="linear" presStyleCnt="0">
        <dgm:presLayoutVars>
          <dgm:dir/>
          <dgm:animLvl val="lvl"/>
          <dgm:resizeHandles val="exact"/>
        </dgm:presLayoutVars>
      </dgm:prSet>
      <dgm:spPr/>
    </dgm:pt>
    <dgm:pt modelId="{E602F167-7CEF-4CA0-B7B0-E1143CABC84C}" type="pres">
      <dgm:prSet presAssocID="{0E85A69B-BD91-47F4-8E98-148FB71E7A5E}" presName="parentLin" presStyleCnt="0"/>
      <dgm:spPr/>
    </dgm:pt>
    <dgm:pt modelId="{C18F4E77-5794-487A-BCE9-D642C32A0D7A}" type="pres">
      <dgm:prSet presAssocID="{0E85A69B-BD91-47F4-8E98-148FB71E7A5E}" presName="parentLeftMargin" presStyleLbl="node1" presStyleIdx="0" presStyleCnt="1"/>
      <dgm:spPr/>
    </dgm:pt>
    <dgm:pt modelId="{C4D86899-CCBB-42BF-82E2-3DAA5CD3CA2B}" type="pres">
      <dgm:prSet presAssocID="{0E85A69B-BD91-47F4-8E98-148FB71E7A5E}" presName="parentText" presStyleLbl="node1" presStyleIdx="0" presStyleCnt="1">
        <dgm:presLayoutVars>
          <dgm:chMax val="0"/>
          <dgm:bulletEnabled val="1"/>
        </dgm:presLayoutVars>
      </dgm:prSet>
      <dgm:spPr/>
    </dgm:pt>
    <dgm:pt modelId="{7E0133F1-CED8-4791-A068-3AD9200180E5}" type="pres">
      <dgm:prSet presAssocID="{0E85A69B-BD91-47F4-8E98-148FB71E7A5E}" presName="negativeSpace" presStyleCnt="0"/>
      <dgm:spPr/>
    </dgm:pt>
    <dgm:pt modelId="{C0B53263-5288-4F7B-A8D2-D8FB8D17DE52}" type="pres">
      <dgm:prSet presAssocID="{0E85A69B-BD91-47F4-8E98-148FB71E7A5E}" presName="childText" presStyleLbl="conFgAcc1" presStyleIdx="0" presStyleCnt="1">
        <dgm:presLayoutVars>
          <dgm:bulletEnabled val="1"/>
        </dgm:presLayoutVars>
      </dgm:prSet>
      <dgm:spPr/>
    </dgm:pt>
  </dgm:ptLst>
  <dgm:cxnLst>
    <dgm:cxn modelId="{6E6D5138-10BC-4C6E-9D05-99ED81AD7EE0}" type="presOf" srcId="{0E85A69B-BD91-47F4-8E98-148FB71E7A5E}" destId="{C18F4E77-5794-487A-BCE9-D642C32A0D7A}" srcOrd="0" destOrd="0" presId="urn:microsoft.com/office/officeart/2005/8/layout/list1"/>
    <dgm:cxn modelId="{1AC0C670-9416-4B9C-93AC-FEB3C983E453}" type="presOf" srcId="{0E85A69B-BD91-47F4-8E98-148FB71E7A5E}" destId="{C4D86899-CCBB-42BF-82E2-3DAA5CD3CA2B}" srcOrd="1" destOrd="0" presId="urn:microsoft.com/office/officeart/2005/8/layout/list1"/>
    <dgm:cxn modelId="{AD47C797-3775-4E46-9CAF-03F4D4464B7C}" srcId="{D1DD07DA-DA4A-428E-BB14-1886BFE9F664}" destId="{0E85A69B-BD91-47F4-8E98-148FB71E7A5E}" srcOrd="0" destOrd="0" parTransId="{ACBB7991-6AD1-481A-BAAF-40023B50DD10}" sibTransId="{267ECFAB-3D81-4CE0-A752-CE1C6595C7A5}"/>
    <dgm:cxn modelId="{CAA3ABA2-A54D-47D2-B92B-49D8AF587C50}" srcId="{0E85A69B-BD91-47F4-8E98-148FB71E7A5E}" destId="{2F1D44A5-DAE9-4386-AF00-8D5B8B36373A}" srcOrd="1" destOrd="0" parTransId="{DCA56124-C9CA-4D32-9ABD-305F4FE66A8F}" sibTransId="{1D1ECA39-7457-48E9-906A-16269A5C7F48}"/>
    <dgm:cxn modelId="{B4242AC8-8D51-4D45-9530-85E829110598}" type="presOf" srcId="{D1DD07DA-DA4A-428E-BB14-1886BFE9F664}" destId="{7B01D848-3E9B-47FD-8F5E-469B1A44D988}" srcOrd="0" destOrd="0" presId="urn:microsoft.com/office/officeart/2005/8/layout/list1"/>
    <dgm:cxn modelId="{82D6E2E3-86B9-4CE7-8CCC-B82853AFCBF6}" srcId="{0E85A69B-BD91-47F4-8E98-148FB71E7A5E}" destId="{F4972477-2007-46E0-889F-12D7AC195D5A}" srcOrd="0" destOrd="0" parTransId="{3E1DBF33-FCA2-4682-9A4F-877FA394AB4B}" sibTransId="{2DB9C7E4-1CD1-45B6-9B33-261FE563FEDA}"/>
    <dgm:cxn modelId="{0B1021F6-FB31-4209-AD44-4D70D92C61FB}" type="presOf" srcId="{F4972477-2007-46E0-889F-12D7AC195D5A}" destId="{C0B53263-5288-4F7B-A8D2-D8FB8D17DE52}" srcOrd="0" destOrd="0" presId="urn:microsoft.com/office/officeart/2005/8/layout/list1"/>
    <dgm:cxn modelId="{C98A81FD-C37F-408D-AE68-C95A137ACE78}" type="presOf" srcId="{2F1D44A5-DAE9-4386-AF00-8D5B8B36373A}" destId="{C0B53263-5288-4F7B-A8D2-D8FB8D17DE52}" srcOrd="0" destOrd="1" presId="urn:microsoft.com/office/officeart/2005/8/layout/list1"/>
    <dgm:cxn modelId="{803AA6C4-19A5-4FC8-B738-EDFA3DC8A2FF}" type="presParOf" srcId="{7B01D848-3E9B-47FD-8F5E-469B1A44D988}" destId="{E602F167-7CEF-4CA0-B7B0-E1143CABC84C}" srcOrd="0" destOrd="0" presId="urn:microsoft.com/office/officeart/2005/8/layout/list1"/>
    <dgm:cxn modelId="{4CCBB3F7-AE16-4B6C-B0DC-745F678087DC}" type="presParOf" srcId="{E602F167-7CEF-4CA0-B7B0-E1143CABC84C}" destId="{C18F4E77-5794-487A-BCE9-D642C32A0D7A}" srcOrd="0" destOrd="0" presId="urn:microsoft.com/office/officeart/2005/8/layout/list1"/>
    <dgm:cxn modelId="{64594F79-14EC-43E7-B0A4-D460D03F5F56}" type="presParOf" srcId="{E602F167-7CEF-4CA0-B7B0-E1143CABC84C}" destId="{C4D86899-CCBB-42BF-82E2-3DAA5CD3CA2B}" srcOrd="1" destOrd="0" presId="urn:microsoft.com/office/officeart/2005/8/layout/list1"/>
    <dgm:cxn modelId="{91F2D617-6276-415F-A559-D134F0975493}" type="presParOf" srcId="{7B01D848-3E9B-47FD-8F5E-469B1A44D988}" destId="{7E0133F1-CED8-4791-A068-3AD9200180E5}" srcOrd="1" destOrd="0" presId="urn:microsoft.com/office/officeart/2005/8/layout/list1"/>
    <dgm:cxn modelId="{C14A8072-41D0-444E-917C-CA678AACE351}" type="presParOf" srcId="{7B01D848-3E9B-47FD-8F5E-469B1A44D988}" destId="{C0B53263-5288-4F7B-A8D2-D8FB8D17DE52}"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1CBF0F7-04A1-4588-B786-1DA5485627F9}" type="doc">
      <dgm:prSet loTypeId="urn:microsoft.com/office/officeart/2005/8/layout/chevron2" loCatId="list" qsTypeId="urn:microsoft.com/office/officeart/2005/8/quickstyle/simple1" qsCatId="simple" csTypeId="urn:microsoft.com/office/officeart/2005/8/colors/accent6_1" csCatId="accent6" phldr="1"/>
      <dgm:spPr/>
      <dgm:t>
        <a:bodyPr/>
        <a:lstStyle/>
        <a:p>
          <a:endParaRPr lang="en-US"/>
        </a:p>
      </dgm:t>
    </dgm:pt>
    <dgm:pt modelId="{EB13BAF2-4204-490A-9B85-944F4ED6A55D}">
      <dgm:prSet phldrT="[Text]"/>
      <dgm:spPr>
        <a:effectLst>
          <a:outerShdw blurRad="50800" dist="38100" dir="2700000" algn="tl" rotWithShape="0">
            <a:schemeClr val="tx2">
              <a:alpha val="40000"/>
            </a:schemeClr>
          </a:outerShdw>
        </a:effectLst>
      </dgm:spPr>
      <dgm:t>
        <a:bodyPr/>
        <a:lstStyle/>
        <a:p>
          <a:r>
            <a:rPr lang="el-GR" dirty="0"/>
            <a:t>1991</a:t>
          </a:r>
          <a:endParaRPr lang="en-US" dirty="0"/>
        </a:p>
      </dgm:t>
    </dgm:pt>
    <dgm:pt modelId="{CC097A1F-94E2-4120-BA11-9C8DEA68CD3C}" type="parTrans" cxnId="{EA82FAA3-A61B-4258-A960-D85213202FF6}">
      <dgm:prSet/>
      <dgm:spPr/>
      <dgm:t>
        <a:bodyPr/>
        <a:lstStyle/>
        <a:p>
          <a:endParaRPr lang="en-US"/>
        </a:p>
      </dgm:t>
    </dgm:pt>
    <dgm:pt modelId="{FCA273E5-D5A3-494F-BDBA-45BB98446B1A}" type="sibTrans" cxnId="{EA82FAA3-A61B-4258-A960-D85213202FF6}">
      <dgm:prSet/>
      <dgm:spPr/>
      <dgm:t>
        <a:bodyPr/>
        <a:lstStyle/>
        <a:p>
          <a:endParaRPr lang="en-US"/>
        </a:p>
      </dgm:t>
    </dgm:pt>
    <dgm:pt modelId="{BD5B7130-60B3-442A-9625-4D7F78A4426B}">
      <dgm:prSet phldrT="[Text]"/>
      <dgm:spPr>
        <a:effectLst>
          <a:outerShdw blurRad="50800" dist="38100" dir="2700000" algn="tl" rotWithShape="0">
            <a:schemeClr val="tx2">
              <a:alpha val="40000"/>
            </a:schemeClr>
          </a:outerShdw>
        </a:effectLst>
      </dgm:spPr>
      <dgm:t>
        <a:bodyPr/>
        <a:lstStyle/>
        <a:p>
          <a:r>
            <a:rPr lang="el-GR" dirty="0"/>
            <a:t>2001</a:t>
          </a:r>
          <a:endParaRPr lang="en-US" dirty="0"/>
        </a:p>
      </dgm:t>
    </dgm:pt>
    <dgm:pt modelId="{3BA38282-9708-4582-93F4-1E364F1E0CD1}" type="parTrans" cxnId="{4AE6C3CE-A418-4785-AE3C-0A5E3790E047}">
      <dgm:prSet/>
      <dgm:spPr/>
      <dgm:t>
        <a:bodyPr/>
        <a:lstStyle/>
        <a:p>
          <a:endParaRPr lang="en-US"/>
        </a:p>
      </dgm:t>
    </dgm:pt>
    <dgm:pt modelId="{52B5AE07-BFF2-4597-8814-423D14C84099}" type="sibTrans" cxnId="{4AE6C3CE-A418-4785-AE3C-0A5E3790E047}">
      <dgm:prSet/>
      <dgm:spPr/>
      <dgm:t>
        <a:bodyPr/>
        <a:lstStyle/>
        <a:p>
          <a:endParaRPr lang="en-US"/>
        </a:p>
      </dgm:t>
    </dgm:pt>
    <dgm:pt modelId="{A05389BA-248D-4A35-8FB5-CD5D1E8533EF}">
      <dgm:prSet phldrT="[Text]"/>
      <dgm:spPr>
        <a:effectLst>
          <a:outerShdw blurRad="50800" dist="38100" dir="2700000" algn="tl" rotWithShape="0">
            <a:schemeClr val="tx2">
              <a:alpha val="40000"/>
            </a:schemeClr>
          </a:outerShdw>
        </a:effectLst>
      </dgm:spPr>
      <dgm:t>
        <a:bodyPr/>
        <a:lstStyle/>
        <a:p>
          <a:r>
            <a:rPr lang="el-GR" dirty="0"/>
            <a:t>2003</a:t>
          </a:r>
          <a:endParaRPr lang="en-US" dirty="0"/>
        </a:p>
      </dgm:t>
    </dgm:pt>
    <dgm:pt modelId="{C1D95591-12EA-45FD-84F0-D0CC6BCFD716}" type="parTrans" cxnId="{DF166375-E647-430B-9268-2125C774598F}">
      <dgm:prSet/>
      <dgm:spPr/>
      <dgm:t>
        <a:bodyPr/>
        <a:lstStyle/>
        <a:p>
          <a:endParaRPr lang="en-US"/>
        </a:p>
      </dgm:t>
    </dgm:pt>
    <dgm:pt modelId="{8CB6534C-80D2-4206-AAC1-0A94515CBC34}" type="sibTrans" cxnId="{DF166375-E647-430B-9268-2125C774598F}">
      <dgm:prSet/>
      <dgm:spPr/>
      <dgm:t>
        <a:bodyPr/>
        <a:lstStyle/>
        <a:p>
          <a:endParaRPr lang="en-US"/>
        </a:p>
      </dgm:t>
    </dgm:pt>
    <dgm:pt modelId="{14AC0482-DAC1-4C96-9B54-E0040F7B3B7B}">
      <dgm:prSet phldrT="[Text]" custT="1"/>
      <dgm:spPr>
        <a:solidFill>
          <a:schemeClr val="accent2">
            <a:lumMod val="40000"/>
            <a:lumOff val="60000"/>
            <a:alpha val="90000"/>
          </a:schemeClr>
        </a:solidFill>
        <a:effectLst>
          <a:outerShdw blurRad="50800" dist="38100" dir="2700000" algn="tl" rotWithShape="0">
            <a:schemeClr val="tx2">
              <a:alpha val="40000"/>
            </a:schemeClr>
          </a:outerShdw>
        </a:effectLst>
      </dgm:spPr>
      <dgm:t>
        <a:bodyPr/>
        <a:lstStyle/>
        <a:p>
          <a:r>
            <a:rPr lang="el-GR" sz="1600" b="0" dirty="0"/>
            <a:t>Ψήφιση βασικού νόμου για το ΓεΣΥ</a:t>
          </a:r>
          <a:endParaRPr lang="en-US" sz="1600" b="0" dirty="0"/>
        </a:p>
      </dgm:t>
    </dgm:pt>
    <dgm:pt modelId="{4A345E57-392D-4598-B24D-BBBCEE7DAD6B}" type="sibTrans" cxnId="{DADB7910-9ECE-4130-A216-76954ACABBA5}">
      <dgm:prSet/>
      <dgm:spPr/>
      <dgm:t>
        <a:bodyPr/>
        <a:lstStyle/>
        <a:p>
          <a:endParaRPr lang="en-US"/>
        </a:p>
      </dgm:t>
    </dgm:pt>
    <dgm:pt modelId="{E7B651AB-A157-4227-A3E5-0711551189DF}" type="parTrans" cxnId="{DADB7910-9ECE-4130-A216-76954ACABBA5}">
      <dgm:prSet/>
      <dgm:spPr/>
      <dgm:t>
        <a:bodyPr/>
        <a:lstStyle/>
        <a:p>
          <a:endParaRPr lang="en-US"/>
        </a:p>
      </dgm:t>
    </dgm:pt>
    <dgm:pt modelId="{C72C6B31-4FC9-4B85-BD12-4F0AAC1294C4}">
      <dgm:prSet phldrT="[Text]"/>
      <dgm:spPr>
        <a:effectLst>
          <a:outerShdw blurRad="50800" dist="38100" dir="2700000" algn="tl" rotWithShape="0">
            <a:schemeClr val="tx2">
              <a:alpha val="40000"/>
            </a:schemeClr>
          </a:outerShdw>
        </a:effectLst>
      </dgm:spPr>
      <dgm:t>
        <a:bodyPr/>
        <a:lstStyle/>
        <a:p>
          <a:r>
            <a:rPr lang="en-GB" dirty="0"/>
            <a:t>2007</a:t>
          </a:r>
          <a:endParaRPr lang="en-US" dirty="0"/>
        </a:p>
      </dgm:t>
    </dgm:pt>
    <dgm:pt modelId="{E9F4EF0F-35F6-40C0-9F38-5D2FF9B30DFD}" type="parTrans" cxnId="{EF9A53E5-9D82-4E13-AA1F-18394556F920}">
      <dgm:prSet/>
      <dgm:spPr/>
      <dgm:t>
        <a:bodyPr/>
        <a:lstStyle/>
        <a:p>
          <a:endParaRPr lang="en-US"/>
        </a:p>
      </dgm:t>
    </dgm:pt>
    <dgm:pt modelId="{642B0C6B-4282-4B90-A9AA-E22294AE2C32}" type="sibTrans" cxnId="{EF9A53E5-9D82-4E13-AA1F-18394556F920}">
      <dgm:prSet/>
      <dgm:spPr/>
      <dgm:t>
        <a:bodyPr/>
        <a:lstStyle/>
        <a:p>
          <a:endParaRPr lang="en-US"/>
        </a:p>
      </dgm:t>
    </dgm:pt>
    <dgm:pt modelId="{EF315AF2-0D69-43BA-8E4C-5A69E1ECD832}">
      <dgm:prSet custT="1"/>
      <dgm:spPr>
        <a:solidFill>
          <a:schemeClr val="accent2">
            <a:lumMod val="40000"/>
            <a:lumOff val="60000"/>
            <a:alpha val="90000"/>
          </a:schemeClr>
        </a:solidFill>
        <a:effectLst>
          <a:outerShdw blurRad="50800" dist="38100" dir="2700000" algn="tl" rotWithShape="0">
            <a:schemeClr val="tx2">
              <a:alpha val="40000"/>
            </a:schemeClr>
          </a:outerShdw>
        </a:effectLst>
      </dgm:spPr>
      <dgm:t>
        <a:bodyPr/>
        <a:lstStyle/>
        <a:p>
          <a:r>
            <a:rPr lang="el-GR" sz="1600" b="0" dirty="0"/>
            <a:t>Μελέτη Στρατηγικής </a:t>
          </a:r>
          <a:r>
            <a:rPr lang="en-US" sz="1600" b="0" dirty="0"/>
            <a:t> </a:t>
          </a:r>
          <a:r>
            <a:rPr lang="el-GR" sz="1600" b="0" dirty="0"/>
            <a:t>για την εφαρμογή του ΓεΣΥ από οίκο </a:t>
          </a:r>
          <a:r>
            <a:rPr lang="en-GB" sz="1600" b="0" dirty="0"/>
            <a:t>McKinsey</a:t>
          </a:r>
          <a:endParaRPr lang="en-US" sz="1600" b="0" dirty="0"/>
        </a:p>
      </dgm:t>
    </dgm:pt>
    <dgm:pt modelId="{EFCE47A8-3345-4ED1-999F-A6C9CC2F8553}" type="parTrans" cxnId="{44746F8F-D9DE-4B1C-8AA3-395ACF63A2A9}">
      <dgm:prSet/>
      <dgm:spPr/>
      <dgm:t>
        <a:bodyPr/>
        <a:lstStyle/>
        <a:p>
          <a:endParaRPr lang="en-US"/>
        </a:p>
      </dgm:t>
    </dgm:pt>
    <dgm:pt modelId="{AD94A653-776D-47B6-99DD-BBF468D96267}" type="sibTrans" cxnId="{44746F8F-D9DE-4B1C-8AA3-395ACF63A2A9}">
      <dgm:prSet/>
      <dgm:spPr/>
      <dgm:t>
        <a:bodyPr/>
        <a:lstStyle/>
        <a:p>
          <a:endParaRPr lang="en-US"/>
        </a:p>
      </dgm:t>
    </dgm:pt>
    <dgm:pt modelId="{A59B13DA-8CA4-46B5-90C0-7E80621990E7}">
      <dgm:prSet phldrT="[Text]"/>
      <dgm:spPr>
        <a:effectLst>
          <a:outerShdw blurRad="50800" dist="38100" dir="2700000" algn="tl" rotWithShape="0">
            <a:schemeClr val="tx2">
              <a:alpha val="40000"/>
            </a:schemeClr>
          </a:outerShdw>
        </a:effectLst>
      </dgm:spPr>
      <dgm:t>
        <a:bodyPr/>
        <a:lstStyle/>
        <a:p>
          <a:r>
            <a:rPr lang="el-GR" dirty="0"/>
            <a:t>2015</a:t>
          </a:r>
          <a:endParaRPr lang="en-US" dirty="0"/>
        </a:p>
      </dgm:t>
    </dgm:pt>
    <dgm:pt modelId="{64D0E733-8CFA-4454-A8B4-2D70C2E5DCBC}" type="parTrans" cxnId="{70671B7C-46A6-471F-BF17-36B884A291F5}">
      <dgm:prSet/>
      <dgm:spPr/>
      <dgm:t>
        <a:bodyPr/>
        <a:lstStyle/>
        <a:p>
          <a:endParaRPr lang="en-US"/>
        </a:p>
      </dgm:t>
    </dgm:pt>
    <dgm:pt modelId="{14742639-91BC-48DA-B916-7063F5975B7D}" type="sibTrans" cxnId="{70671B7C-46A6-471F-BF17-36B884A291F5}">
      <dgm:prSet/>
      <dgm:spPr/>
      <dgm:t>
        <a:bodyPr/>
        <a:lstStyle/>
        <a:p>
          <a:endParaRPr lang="en-US"/>
        </a:p>
      </dgm:t>
    </dgm:pt>
    <dgm:pt modelId="{894F9CF8-319E-443A-9C1D-E14A1412C00C}">
      <dgm:prSet phldrT="[Text]"/>
      <dgm:spPr>
        <a:effectLst>
          <a:outerShdw blurRad="50800" dist="38100" dir="2700000" algn="tl" rotWithShape="0">
            <a:schemeClr val="tx2">
              <a:alpha val="40000"/>
            </a:schemeClr>
          </a:outerShdw>
        </a:effectLst>
      </dgm:spPr>
      <dgm:t>
        <a:bodyPr/>
        <a:lstStyle/>
        <a:p>
          <a:r>
            <a:rPr lang="el-GR" dirty="0"/>
            <a:t>2017</a:t>
          </a:r>
          <a:endParaRPr lang="en-US" dirty="0"/>
        </a:p>
      </dgm:t>
    </dgm:pt>
    <dgm:pt modelId="{B408BCCB-9EFA-47AA-8354-2149C7F7E627}" type="parTrans" cxnId="{0E2606BE-22FA-463F-904C-70A9787DE1CF}">
      <dgm:prSet/>
      <dgm:spPr/>
      <dgm:t>
        <a:bodyPr/>
        <a:lstStyle/>
        <a:p>
          <a:endParaRPr lang="en-US"/>
        </a:p>
      </dgm:t>
    </dgm:pt>
    <dgm:pt modelId="{133E6844-653A-4EC2-9675-4CE30FCBF41A}" type="sibTrans" cxnId="{0E2606BE-22FA-463F-904C-70A9787DE1CF}">
      <dgm:prSet/>
      <dgm:spPr/>
      <dgm:t>
        <a:bodyPr/>
        <a:lstStyle/>
        <a:p>
          <a:endParaRPr lang="en-US"/>
        </a:p>
      </dgm:t>
    </dgm:pt>
    <dgm:pt modelId="{994C328C-3957-4639-9172-5A42BE66A89F}">
      <dgm:prSet custT="1"/>
      <dgm:spPr>
        <a:solidFill>
          <a:schemeClr val="accent2">
            <a:lumMod val="40000"/>
            <a:lumOff val="60000"/>
            <a:alpha val="90000"/>
          </a:schemeClr>
        </a:solidFill>
        <a:effectLst>
          <a:outerShdw blurRad="50800" dist="38100" dir="2700000" algn="tl" rotWithShape="0">
            <a:schemeClr val="tx2">
              <a:alpha val="40000"/>
            </a:schemeClr>
          </a:outerShdw>
        </a:effectLst>
      </dgm:spPr>
      <dgm:t>
        <a:bodyPr/>
        <a:lstStyle/>
        <a:p>
          <a:r>
            <a:rPr lang="el-GR" sz="1600" b="0" dirty="0">
              <a:solidFill>
                <a:schemeClr val="tx1"/>
              </a:solidFill>
              <a:latin typeface="+mn-lt"/>
              <a:ea typeface="ＭＳ Ｐゴシック" pitchFamily="34" charset="-128"/>
            </a:rPr>
            <a:t>Μελέτη από την Παγκόσμια Τράπεζα </a:t>
          </a:r>
          <a:endParaRPr lang="en-US" sz="1600" b="0" dirty="0"/>
        </a:p>
      </dgm:t>
    </dgm:pt>
    <dgm:pt modelId="{0990B621-1B90-41BC-8700-224850D441FA}" type="parTrans" cxnId="{D755354A-4A9A-4409-B89A-9B7A378BAEE0}">
      <dgm:prSet/>
      <dgm:spPr/>
      <dgm:t>
        <a:bodyPr/>
        <a:lstStyle/>
        <a:p>
          <a:endParaRPr lang="en-US"/>
        </a:p>
      </dgm:t>
    </dgm:pt>
    <dgm:pt modelId="{2FE3941C-FE81-4CDE-89B4-3A566337F427}" type="sibTrans" cxnId="{D755354A-4A9A-4409-B89A-9B7A378BAEE0}">
      <dgm:prSet/>
      <dgm:spPr/>
      <dgm:t>
        <a:bodyPr/>
        <a:lstStyle/>
        <a:p>
          <a:endParaRPr lang="en-US"/>
        </a:p>
      </dgm:t>
    </dgm:pt>
    <dgm:pt modelId="{B92CB291-6C4E-4AE7-9B45-3E2A4AA668B2}">
      <dgm:prSet custT="1"/>
      <dgm:spPr>
        <a:solidFill>
          <a:schemeClr val="accent2">
            <a:lumMod val="40000"/>
            <a:lumOff val="60000"/>
            <a:alpha val="90000"/>
          </a:schemeClr>
        </a:solidFill>
        <a:effectLst>
          <a:outerShdw blurRad="50800" dist="38100" dir="2700000" algn="tl" rotWithShape="0">
            <a:schemeClr val="tx2">
              <a:alpha val="40000"/>
            </a:schemeClr>
          </a:outerShdw>
        </a:effectLst>
      </dgm:spPr>
      <dgm:t>
        <a:bodyPr/>
        <a:lstStyle/>
        <a:p>
          <a:r>
            <a:rPr lang="el-GR" sz="1600" b="0" dirty="0">
              <a:solidFill>
                <a:schemeClr val="tx1"/>
              </a:solidFill>
              <a:latin typeface="+mn-lt"/>
              <a:ea typeface="ＭＳ Ｐゴシック" pitchFamily="34" charset="-128"/>
            </a:rPr>
            <a:t>Μελέτη από τον Παγκόσμιο Οργανισμό Υγείας</a:t>
          </a:r>
          <a:endParaRPr lang="en-US" sz="1600" b="0" dirty="0"/>
        </a:p>
      </dgm:t>
    </dgm:pt>
    <dgm:pt modelId="{F9C98224-1A44-4035-BE91-EAD30BB9A030}" type="parTrans" cxnId="{4239A8D6-9C0F-4E92-9AF1-3DB6E853FFF9}">
      <dgm:prSet/>
      <dgm:spPr/>
      <dgm:t>
        <a:bodyPr/>
        <a:lstStyle/>
        <a:p>
          <a:endParaRPr lang="en-US"/>
        </a:p>
      </dgm:t>
    </dgm:pt>
    <dgm:pt modelId="{C5047FD9-F500-4B38-A091-5A7E45824D62}" type="sibTrans" cxnId="{4239A8D6-9C0F-4E92-9AF1-3DB6E853FFF9}">
      <dgm:prSet/>
      <dgm:spPr/>
      <dgm:t>
        <a:bodyPr/>
        <a:lstStyle/>
        <a:p>
          <a:endParaRPr lang="en-US"/>
        </a:p>
      </dgm:t>
    </dgm:pt>
    <dgm:pt modelId="{E59735C9-F083-4687-920F-30A65D6B09C3}">
      <dgm:prSet custT="1"/>
      <dgm:spPr>
        <a:solidFill>
          <a:schemeClr val="accent2">
            <a:lumMod val="20000"/>
            <a:lumOff val="80000"/>
            <a:alpha val="90000"/>
          </a:schemeClr>
        </a:solidFill>
        <a:effectLst>
          <a:outerShdw blurRad="50800" dist="38100" dir="2700000" algn="tl" rotWithShape="0">
            <a:schemeClr val="tx2">
              <a:alpha val="40000"/>
            </a:schemeClr>
          </a:outerShdw>
        </a:effectLst>
      </dgm:spPr>
      <dgm:t>
        <a:bodyPr/>
        <a:lstStyle/>
        <a:p>
          <a:r>
            <a:rPr lang="el-GR" sz="1600" b="0" dirty="0"/>
            <a:t>Ψήφιση Τροποποιητικού Νόμου για το ΓεΣΥ</a:t>
          </a:r>
          <a:endParaRPr lang="en-US" sz="1600" b="0" dirty="0"/>
        </a:p>
      </dgm:t>
    </dgm:pt>
    <dgm:pt modelId="{69D65C7F-D56C-428C-B192-8893861CCC57}" type="parTrans" cxnId="{79080AA3-E478-4D71-B5BA-8F6B65A79CEF}">
      <dgm:prSet/>
      <dgm:spPr/>
      <dgm:t>
        <a:bodyPr/>
        <a:lstStyle/>
        <a:p>
          <a:endParaRPr lang="en-US"/>
        </a:p>
      </dgm:t>
    </dgm:pt>
    <dgm:pt modelId="{8672AE27-9C91-41DD-9C73-020DADCD4E91}" type="sibTrans" cxnId="{79080AA3-E478-4D71-B5BA-8F6B65A79CEF}">
      <dgm:prSet/>
      <dgm:spPr/>
      <dgm:t>
        <a:bodyPr/>
        <a:lstStyle/>
        <a:p>
          <a:endParaRPr lang="en-US"/>
        </a:p>
      </dgm:t>
    </dgm:pt>
    <dgm:pt modelId="{D39556C5-3586-4F5D-8161-8537BEF2C419}">
      <dgm:prSet phldrT="[Text]"/>
      <dgm:spPr>
        <a:effectLst>
          <a:outerShdw blurRad="50800" dist="38100" dir="2700000" algn="tl" rotWithShape="0">
            <a:schemeClr val="tx2">
              <a:alpha val="40000"/>
            </a:schemeClr>
          </a:outerShdw>
        </a:effectLst>
      </dgm:spPr>
      <dgm:t>
        <a:bodyPr/>
        <a:lstStyle/>
        <a:p>
          <a:r>
            <a:rPr lang="el-GR" dirty="0"/>
            <a:t>2014</a:t>
          </a:r>
          <a:endParaRPr lang="en-US" dirty="0"/>
        </a:p>
      </dgm:t>
    </dgm:pt>
    <dgm:pt modelId="{28647D68-1D69-4F41-8CB2-DCE42DAFDC6F}" type="parTrans" cxnId="{DB09615D-0C06-480D-BE15-246D25BD2EEA}">
      <dgm:prSet/>
      <dgm:spPr/>
      <dgm:t>
        <a:bodyPr/>
        <a:lstStyle/>
        <a:p>
          <a:endParaRPr lang="en-US"/>
        </a:p>
      </dgm:t>
    </dgm:pt>
    <dgm:pt modelId="{2864A6FF-3C5D-41DA-BEF2-5FF9FAD9EA02}" type="sibTrans" cxnId="{DB09615D-0C06-480D-BE15-246D25BD2EEA}">
      <dgm:prSet/>
      <dgm:spPr/>
      <dgm:t>
        <a:bodyPr/>
        <a:lstStyle/>
        <a:p>
          <a:endParaRPr lang="en-US"/>
        </a:p>
      </dgm:t>
    </dgm:pt>
    <dgm:pt modelId="{88B332BF-2FFD-4E98-8971-5BDC13EE1B09}">
      <dgm:prSet phldrT="[Text]"/>
      <dgm:spPr>
        <a:effectLst>
          <a:outerShdw blurRad="50800" dist="38100" dir="2700000" algn="tl" rotWithShape="0">
            <a:schemeClr val="tx2">
              <a:alpha val="40000"/>
            </a:schemeClr>
          </a:outerShdw>
        </a:effectLst>
      </dgm:spPr>
      <dgm:t>
        <a:bodyPr/>
        <a:lstStyle/>
        <a:p>
          <a:r>
            <a:rPr lang="el-GR" dirty="0"/>
            <a:t>2013</a:t>
          </a:r>
          <a:endParaRPr lang="en-US" dirty="0"/>
        </a:p>
      </dgm:t>
    </dgm:pt>
    <dgm:pt modelId="{38C011E3-90DE-4B38-8D56-42ED4DDB4E9E}" type="parTrans" cxnId="{D1FE0754-ACB8-4E27-B64E-4F812AB490B5}">
      <dgm:prSet/>
      <dgm:spPr/>
      <dgm:t>
        <a:bodyPr/>
        <a:lstStyle/>
        <a:p>
          <a:endParaRPr lang="en-US"/>
        </a:p>
      </dgm:t>
    </dgm:pt>
    <dgm:pt modelId="{67C0DC26-2795-4F3B-8C7D-E7D9A5DA9FA1}" type="sibTrans" cxnId="{D1FE0754-ACB8-4E27-B64E-4F812AB490B5}">
      <dgm:prSet/>
      <dgm:spPr/>
      <dgm:t>
        <a:bodyPr/>
        <a:lstStyle/>
        <a:p>
          <a:endParaRPr lang="en-US"/>
        </a:p>
      </dgm:t>
    </dgm:pt>
    <dgm:pt modelId="{8D259A60-FB39-4BC0-8701-B3496D25995A}">
      <dgm:prSet custT="1"/>
      <dgm:spPr>
        <a:solidFill>
          <a:schemeClr val="accent2">
            <a:lumMod val="40000"/>
            <a:lumOff val="60000"/>
            <a:alpha val="90000"/>
          </a:schemeClr>
        </a:solidFill>
        <a:effectLst>
          <a:outerShdw blurRad="50800" dist="38100" dir="2700000" algn="tl" rotWithShape="0">
            <a:schemeClr val="tx2">
              <a:alpha val="40000"/>
            </a:schemeClr>
          </a:outerShdw>
        </a:effectLst>
      </dgm:spPr>
      <dgm:t>
        <a:bodyPr/>
        <a:lstStyle/>
        <a:p>
          <a:r>
            <a:rPr lang="el-GR" sz="1600" b="0" dirty="0"/>
            <a:t>Αναλογιστική μελέτη  </a:t>
          </a:r>
          <a:r>
            <a:rPr lang="en-GB" sz="1600" b="0" dirty="0"/>
            <a:t>Mercer</a:t>
          </a:r>
          <a:endParaRPr lang="en-US" sz="1600" b="0" dirty="0"/>
        </a:p>
      </dgm:t>
    </dgm:pt>
    <dgm:pt modelId="{BB676D9C-A8C3-4ABF-99D8-9DBFD50CFADB}" type="parTrans" cxnId="{11A64C3F-866E-4140-A5F0-F11F24BB2213}">
      <dgm:prSet/>
      <dgm:spPr/>
      <dgm:t>
        <a:bodyPr/>
        <a:lstStyle/>
        <a:p>
          <a:endParaRPr lang="en-US"/>
        </a:p>
      </dgm:t>
    </dgm:pt>
    <dgm:pt modelId="{E8AA36F6-7E53-4112-A295-A5564A31B19A}" type="sibTrans" cxnId="{11A64C3F-866E-4140-A5F0-F11F24BB2213}">
      <dgm:prSet/>
      <dgm:spPr/>
      <dgm:t>
        <a:bodyPr/>
        <a:lstStyle/>
        <a:p>
          <a:endParaRPr lang="en-US"/>
        </a:p>
      </dgm:t>
    </dgm:pt>
    <dgm:pt modelId="{EF567E1C-5650-4DF4-9E0D-A55EC79192B5}">
      <dgm:prSet custT="1"/>
      <dgm:spPr>
        <a:solidFill>
          <a:schemeClr val="accent2">
            <a:lumMod val="40000"/>
            <a:lumOff val="60000"/>
            <a:alpha val="90000"/>
          </a:schemeClr>
        </a:solidFill>
        <a:effectLst>
          <a:outerShdw blurRad="50800" dist="38100" dir="2700000" algn="tl" rotWithShape="0">
            <a:schemeClr val="tx2">
              <a:alpha val="40000"/>
            </a:schemeClr>
          </a:outerShdw>
        </a:effectLst>
      </dgm:spPr>
      <dgm:t>
        <a:bodyPr/>
        <a:lstStyle/>
        <a:p>
          <a:r>
            <a:rPr lang="el-GR" sz="1600" b="0" dirty="0"/>
            <a:t>1991 -1993</a:t>
          </a:r>
          <a:r>
            <a:rPr lang="en-GB" sz="1600" b="0" dirty="0"/>
            <a:t>:</a:t>
          </a:r>
          <a:r>
            <a:rPr lang="el-GR" sz="1600" b="0" dirty="0"/>
            <a:t> Πρώτες μελέτες για το ΓεΣΥ</a:t>
          </a:r>
        </a:p>
      </dgm:t>
    </dgm:pt>
    <dgm:pt modelId="{DDF1C630-FA6B-4DE1-9EAA-9F9CC774E322}" type="parTrans" cxnId="{C57056E0-8498-4246-983F-15B1D5EB739E}">
      <dgm:prSet/>
      <dgm:spPr/>
      <dgm:t>
        <a:bodyPr/>
        <a:lstStyle/>
        <a:p>
          <a:endParaRPr lang="el-GR"/>
        </a:p>
      </dgm:t>
    </dgm:pt>
    <dgm:pt modelId="{F46565E8-3560-4069-8314-EE544D8E0E94}" type="sibTrans" cxnId="{C57056E0-8498-4246-983F-15B1D5EB739E}">
      <dgm:prSet/>
      <dgm:spPr/>
      <dgm:t>
        <a:bodyPr/>
        <a:lstStyle/>
        <a:p>
          <a:endParaRPr lang="el-GR"/>
        </a:p>
      </dgm:t>
    </dgm:pt>
    <dgm:pt modelId="{CE16C9CD-3602-472B-99C5-002CD0D3DFEB}">
      <dgm:prSet custT="1"/>
      <dgm:spPr>
        <a:solidFill>
          <a:schemeClr val="accent2">
            <a:lumMod val="40000"/>
            <a:lumOff val="60000"/>
            <a:alpha val="90000"/>
          </a:schemeClr>
        </a:solidFill>
        <a:effectLst>
          <a:outerShdw blurRad="50800" dist="38100" dir="2700000" algn="tl" rotWithShape="0">
            <a:schemeClr val="tx2">
              <a:alpha val="40000"/>
            </a:schemeClr>
          </a:outerShdw>
        </a:effectLst>
      </dgm:spPr>
      <dgm:t>
        <a:bodyPr/>
        <a:lstStyle/>
        <a:p>
          <a:r>
            <a:rPr lang="el-GR" sz="1600" b="0" dirty="0"/>
            <a:t>Εισηγήσεις Ευρωπαϊκής Επιτροπής</a:t>
          </a:r>
          <a:endParaRPr lang="en-US" sz="1100" b="0" dirty="0"/>
        </a:p>
      </dgm:t>
    </dgm:pt>
    <dgm:pt modelId="{9C264F9B-E6D3-4802-932C-AE53FC4578CB}" type="parTrans" cxnId="{A878D0DD-C01D-4734-8F3D-6564CF84B683}">
      <dgm:prSet/>
      <dgm:spPr/>
      <dgm:t>
        <a:bodyPr/>
        <a:lstStyle/>
        <a:p>
          <a:endParaRPr lang="el-GR"/>
        </a:p>
      </dgm:t>
    </dgm:pt>
    <dgm:pt modelId="{FC6D5FC2-BE8B-4CBA-A13D-030B15E77B66}" type="sibTrans" cxnId="{A878D0DD-C01D-4734-8F3D-6564CF84B683}">
      <dgm:prSet/>
      <dgm:spPr/>
      <dgm:t>
        <a:bodyPr/>
        <a:lstStyle/>
        <a:p>
          <a:endParaRPr lang="el-GR"/>
        </a:p>
      </dgm:t>
    </dgm:pt>
    <dgm:pt modelId="{16955823-38A5-42D7-A1BA-A101DBAF38E1}">
      <dgm:prSet phldrT="[Text]" custT="1"/>
      <dgm:spPr>
        <a:solidFill>
          <a:schemeClr val="accent2">
            <a:lumMod val="40000"/>
            <a:lumOff val="60000"/>
            <a:alpha val="90000"/>
          </a:schemeClr>
        </a:solidFill>
        <a:effectLst>
          <a:outerShdw blurRad="50800" dist="38100" dir="2700000" algn="tl" rotWithShape="0">
            <a:schemeClr val="tx2">
              <a:alpha val="40000"/>
            </a:schemeClr>
          </a:outerShdw>
        </a:effectLst>
      </dgm:spPr>
      <dgm:t>
        <a:bodyPr/>
        <a:lstStyle/>
        <a:p>
          <a:r>
            <a:rPr lang="el-GR" sz="1600" b="0" dirty="0"/>
            <a:t>Δημιουργία ΟΑΥ</a:t>
          </a:r>
          <a:endParaRPr lang="en-US" sz="1600" b="0" dirty="0"/>
        </a:p>
      </dgm:t>
    </dgm:pt>
    <dgm:pt modelId="{1DEB6A2F-4C35-4231-86FD-B1F27A574D3F}" type="sibTrans" cxnId="{4DE3E086-71CC-4D6E-83B6-E41379043722}">
      <dgm:prSet/>
      <dgm:spPr/>
      <dgm:t>
        <a:bodyPr/>
        <a:lstStyle/>
        <a:p>
          <a:endParaRPr lang="en-US"/>
        </a:p>
      </dgm:t>
    </dgm:pt>
    <dgm:pt modelId="{C0F86133-AAF1-45CD-8A16-023713EAE47C}" type="parTrans" cxnId="{4DE3E086-71CC-4D6E-83B6-E41379043722}">
      <dgm:prSet/>
      <dgm:spPr/>
      <dgm:t>
        <a:bodyPr/>
        <a:lstStyle/>
        <a:p>
          <a:endParaRPr lang="en-US"/>
        </a:p>
      </dgm:t>
    </dgm:pt>
    <dgm:pt modelId="{B3E8B8EB-334F-40C6-8587-39F3439A656D}">
      <dgm:prSet custT="1"/>
      <dgm:spPr>
        <a:solidFill>
          <a:schemeClr val="accent2">
            <a:lumMod val="20000"/>
            <a:lumOff val="80000"/>
            <a:alpha val="90000"/>
          </a:schemeClr>
        </a:solidFill>
        <a:effectLst>
          <a:outerShdw blurRad="50800" dist="38100" dir="2700000" algn="tl" rotWithShape="0">
            <a:schemeClr val="tx2">
              <a:alpha val="40000"/>
            </a:schemeClr>
          </a:outerShdw>
        </a:effectLst>
      </dgm:spPr>
      <dgm:t>
        <a:bodyPr/>
        <a:lstStyle/>
        <a:p>
          <a:r>
            <a:rPr lang="el-GR" sz="1600" b="0" dirty="0"/>
            <a:t>Υπογραφή Συμβολαίου για το Σύστημα Πληροφορικής του ΓεΣΥ  </a:t>
          </a:r>
          <a:endParaRPr lang="en-US" sz="1600" b="0" dirty="0"/>
        </a:p>
      </dgm:t>
    </dgm:pt>
    <dgm:pt modelId="{70F220FB-99C3-4C8A-AFC4-ED0CE0F11C6D}" type="parTrans" cxnId="{9D333D9F-3E4B-4DA1-AFF2-909C02D3D0FE}">
      <dgm:prSet/>
      <dgm:spPr/>
    </dgm:pt>
    <dgm:pt modelId="{7CC59A06-077E-4D40-8C5A-60BF02F7B9F8}" type="sibTrans" cxnId="{9D333D9F-3E4B-4DA1-AFF2-909C02D3D0FE}">
      <dgm:prSet/>
      <dgm:spPr/>
    </dgm:pt>
    <dgm:pt modelId="{3C205DBF-B599-403A-8174-3C254FD044EF}" type="pres">
      <dgm:prSet presAssocID="{A1CBF0F7-04A1-4588-B786-1DA5485627F9}" presName="linearFlow" presStyleCnt="0">
        <dgm:presLayoutVars>
          <dgm:dir/>
          <dgm:animLvl val="lvl"/>
          <dgm:resizeHandles val="exact"/>
        </dgm:presLayoutVars>
      </dgm:prSet>
      <dgm:spPr/>
    </dgm:pt>
    <dgm:pt modelId="{51F7952A-24C5-4C20-A9FD-D697C20E4029}" type="pres">
      <dgm:prSet presAssocID="{EB13BAF2-4204-490A-9B85-944F4ED6A55D}" presName="composite" presStyleCnt="0"/>
      <dgm:spPr/>
    </dgm:pt>
    <dgm:pt modelId="{13AB2157-E36E-44E3-A692-FA797B31242C}" type="pres">
      <dgm:prSet presAssocID="{EB13BAF2-4204-490A-9B85-944F4ED6A55D}" presName="parentText" presStyleLbl="alignNode1" presStyleIdx="0" presStyleCnt="8">
        <dgm:presLayoutVars>
          <dgm:chMax val="1"/>
          <dgm:bulletEnabled val="1"/>
        </dgm:presLayoutVars>
      </dgm:prSet>
      <dgm:spPr/>
    </dgm:pt>
    <dgm:pt modelId="{0B6E0F5E-126C-4483-9CD2-E4ACFFAAA74A}" type="pres">
      <dgm:prSet presAssocID="{EB13BAF2-4204-490A-9B85-944F4ED6A55D}" presName="descendantText" presStyleLbl="alignAcc1" presStyleIdx="0" presStyleCnt="8" custScaleY="100000" custLinFactNeighborX="1086">
        <dgm:presLayoutVars>
          <dgm:bulletEnabled val="1"/>
        </dgm:presLayoutVars>
      </dgm:prSet>
      <dgm:spPr/>
    </dgm:pt>
    <dgm:pt modelId="{79586A51-2CDD-4094-BF39-571E234CFA98}" type="pres">
      <dgm:prSet presAssocID="{FCA273E5-D5A3-494F-BDBA-45BB98446B1A}" presName="sp" presStyleCnt="0"/>
      <dgm:spPr/>
    </dgm:pt>
    <dgm:pt modelId="{0163A56A-34CF-484E-A99F-1066E7C70FFF}" type="pres">
      <dgm:prSet presAssocID="{BD5B7130-60B3-442A-9625-4D7F78A4426B}" presName="composite" presStyleCnt="0"/>
      <dgm:spPr/>
    </dgm:pt>
    <dgm:pt modelId="{8A2CBED0-8A28-44FD-9ECF-A3DD685FC8FF}" type="pres">
      <dgm:prSet presAssocID="{BD5B7130-60B3-442A-9625-4D7F78A4426B}" presName="parentText" presStyleLbl="alignNode1" presStyleIdx="1" presStyleCnt="8">
        <dgm:presLayoutVars>
          <dgm:chMax val="1"/>
          <dgm:bulletEnabled val="1"/>
        </dgm:presLayoutVars>
      </dgm:prSet>
      <dgm:spPr/>
    </dgm:pt>
    <dgm:pt modelId="{8705FF35-A77F-4C47-B60C-2B9A7476F7D2}" type="pres">
      <dgm:prSet presAssocID="{BD5B7130-60B3-442A-9625-4D7F78A4426B}" presName="descendantText" presStyleLbl="alignAcc1" presStyleIdx="1" presStyleCnt="8">
        <dgm:presLayoutVars>
          <dgm:bulletEnabled val="1"/>
        </dgm:presLayoutVars>
      </dgm:prSet>
      <dgm:spPr/>
    </dgm:pt>
    <dgm:pt modelId="{4C1114EF-C0B5-4E23-B61B-B267F0DE603C}" type="pres">
      <dgm:prSet presAssocID="{52B5AE07-BFF2-4597-8814-423D14C84099}" presName="sp" presStyleCnt="0"/>
      <dgm:spPr/>
    </dgm:pt>
    <dgm:pt modelId="{775FD88E-D9BE-4326-B64E-CAFB0BFB7446}" type="pres">
      <dgm:prSet presAssocID="{A05389BA-248D-4A35-8FB5-CD5D1E8533EF}" presName="composite" presStyleCnt="0"/>
      <dgm:spPr/>
    </dgm:pt>
    <dgm:pt modelId="{32014AED-CE3F-42B6-BB3C-7C4162E2A76D}" type="pres">
      <dgm:prSet presAssocID="{A05389BA-248D-4A35-8FB5-CD5D1E8533EF}" presName="parentText" presStyleLbl="alignNode1" presStyleIdx="2" presStyleCnt="8">
        <dgm:presLayoutVars>
          <dgm:chMax val="1"/>
          <dgm:bulletEnabled val="1"/>
        </dgm:presLayoutVars>
      </dgm:prSet>
      <dgm:spPr/>
    </dgm:pt>
    <dgm:pt modelId="{4F10B2C1-49A4-41E2-86C4-8AA49ADCC822}" type="pres">
      <dgm:prSet presAssocID="{A05389BA-248D-4A35-8FB5-CD5D1E8533EF}" presName="descendantText" presStyleLbl="alignAcc1" presStyleIdx="2" presStyleCnt="8">
        <dgm:presLayoutVars>
          <dgm:bulletEnabled val="1"/>
        </dgm:presLayoutVars>
      </dgm:prSet>
      <dgm:spPr/>
    </dgm:pt>
    <dgm:pt modelId="{AC054292-7925-4C89-9B30-07B377C0EAE8}" type="pres">
      <dgm:prSet presAssocID="{8CB6534C-80D2-4206-AAC1-0A94515CBC34}" presName="sp" presStyleCnt="0"/>
      <dgm:spPr/>
    </dgm:pt>
    <dgm:pt modelId="{BEA8C487-7758-4182-96F6-562A2803EAAF}" type="pres">
      <dgm:prSet presAssocID="{C72C6B31-4FC9-4B85-BD12-4F0AAC1294C4}" presName="composite" presStyleCnt="0"/>
      <dgm:spPr/>
    </dgm:pt>
    <dgm:pt modelId="{512B9375-3AF3-4F1A-87ED-A183CB44D927}" type="pres">
      <dgm:prSet presAssocID="{C72C6B31-4FC9-4B85-BD12-4F0AAC1294C4}" presName="parentText" presStyleLbl="alignNode1" presStyleIdx="3" presStyleCnt="8">
        <dgm:presLayoutVars>
          <dgm:chMax val="1"/>
          <dgm:bulletEnabled val="1"/>
        </dgm:presLayoutVars>
      </dgm:prSet>
      <dgm:spPr/>
    </dgm:pt>
    <dgm:pt modelId="{D52CFA90-BC2C-4F7A-8ADE-D2648682BD70}" type="pres">
      <dgm:prSet presAssocID="{C72C6B31-4FC9-4B85-BD12-4F0AAC1294C4}" presName="descendantText" presStyleLbl="alignAcc1" presStyleIdx="3" presStyleCnt="8">
        <dgm:presLayoutVars>
          <dgm:bulletEnabled val="1"/>
        </dgm:presLayoutVars>
      </dgm:prSet>
      <dgm:spPr/>
    </dgm:pt>
    <dgm:pt modelId="{7ED33BA7-E1B1-4944-B328-910F5D799B61}" type="pres">
      <dgm:prSet presAssocID="{642B0C6B-4282-4B90-A9AA-E22294AE2C32}" presName="sp" presStyleCnt="0"/>
      <dgm:spPr/>
    </dgm:pt>
    <dgm:pt modelId="{D4C83F82-C82B-42E8-8E46-A026A4E934B5}" type="pres">
      <dgm:prSet presAssocID="{88B332BF-2FFD-4E98-8971-5BDC13EE1B09}" presName="composite" presStyleCnt="0"/>
      <dgm:spPr/>
    </dgm:pt>
    <dgm:pt modelId="{8819AC01-1D14-4215-BF96-96F0502A6E76}" type="pres">
      <dgm:prSet presAssocID="{88B332BF-2FFD-4E98-8971-5BDC13EE1B09}" presName="parentText" presStyleLbl="alignNode1" presStyleIdx="4" presStyleCnt="8">
        <dgm:presLayoutVars>
          <dgm:chMax val="1"/>
          <dgm:bulletEnabled val="1"/>
        </dgm:presLayoutVars>
      </dgm:prSet>
      <dgm:spPr/>
    </dgm:pt>
    <dgm:pt modelId="{92DB8D50-116E-466F-888E-0A8E1779A763}" type="pres">
      <dgm:prSet presAssocID="{88B332BF-2FFD-4E98-8971-5BDC13EE1B09}" presName="descendantText" presStyleLbl="alignAcc1" presStyleIdx="4" presStyleCnt="8">
        <dgm:presLayoutVars>
          <dgm:bulletEnabled val="1"/>
        </dgm:presLayoutVars>
      </dgm:prSet>
      <dgm:spPr/>
    </dgm:pt>
    <dgm:pt modelId="{3F25691E-71F1-4934-894D-C3F315F7969B}" type="pres">
      <dgm:prSet presAssocID="{67C0DC26-2795-4F3B-8C7D-E7D9A5DA9FA1}" presName="sp" presStyleCnt="0"/>
      <dgm:spPr/>
    </dgm:pt>
    <dgm:pt modelId="{0F7A17B7-2950-490C-9EB7-1FBD590966D8}" type="pres">
      <dgm:prSet presAssocID="{D39556C5-3586-4F5D-8161-8537BEF2C419}" presName="composite" presStyleCnt="0"/>
      <dgm:spPr/>
    </dgm:pt>
    <dgm:pt modelId="{091E03D2-6907-49F1-A36E-6D40DD459173}" type="pres">
      <dgm:prSet presAssocID="{D39556C5-3586-4F5D-8161-8537BEF2C419}" presName="parentText" presStyleLbl="alignNode1" presStyleIdx="5" presStyleCnt="8">
        <dgm:presLayoutVars>
          <dgm:chMax val="1"/>
          <dgm:bulletEnabled val="1"/>
        </dgm:presLayoutVars>
      </dgm:prSet>
      <dgm:spPr/>
    </dgm:pt>
    <dgm:pt modelId="{6908C287-F531-4E65-97D0-5C050E6D148B}" type="pres">
      <dgm:prSet presAssocID="{D39556C5-3586-4F5D-8161-8537BEF2C419}" presName="descendantText" presStyleLbl="alignAcc1" presStyleIdx="5" presStyleCnt="8">
        <dgm:presLayoutVars>
          <dgm:bulletEnabled val="1"/>
        </dgm:presLayoutVars>
      </dgm:prSet>
      <dgm:spPr/>
    </dgm:pt>
    <dgm:pt modelId="{690F8575-2FA6-4C98-8976-2E6CF595E875}" type="pres">
      <dgm:prSet presAssocID="{2864A6FF-3C5D-41DA-BEF2-5FF9FAD9EA02}" presName="sp" presStyleCnt="0"/>
      <dgm:spPr/>
    </dgm:pt>
    <dgm:pt modelId="{E533AA6D-3971-443B-B14A-996636B9A560}" type="pres">
      <dgm:prSet presAssocID="{A59B13DA-8CA4-46B5-90C0-7E80621990E7}" presName="composite" presStyleCnt="0"/>
      <dgm:spPr/>
    </dgm:pt>
    <dgm:pt modelId="{C97DE1F4-EF02-4CFE-A758-DA59AF5DDA96}" type="pres">
      <dgm:prSet presAssocID="{A59B13DA-8CA4-46B5-90C0-7E80621990E7}" presName="parentText" presStyleLbl="alignNode1" presStyleIdx="6" presStyleCnt="8">
        <dgm:presLayoutVars>
          <dgm:chMax val="1"/>
          <dgm:bulletEnabled val="1"/>
        </dgm:presLayoutVars>
      </dgm:prSet>
      <dgm:spPr/>
    </dgm:pt>
    <dgm:pt modelId="{0805DA78-84EE-4B05-8591-66B5397BBB6A}" type="pres">
      <dgm:prSet presAssocID="{A59B13DA-8CA4-46B5-90C0-7E80621990E7}" presName="descendantText" presStyleLbl="alignAcc1" presStyleIdx="6" presStyleCnt="8">
        <dgm:presLayoutVars>
          <dgm:bulletEnabled val="1"/>
        </dgm:presLayoutVars>
      </dgm:prSet>
      <dgm:spPr/>
    </dgm:pt>
    <dgm:pt modelId="{7A15918D-840F-4310-93D1-CC7977D54C8C}" type="pres">
      <dgm:prSet presAssocID="{14742639-91BC-48DA-B916-7063F5975B7D}" presName="sp" presStyleCnt="0"/>
      <dgm:spPr/>
    </dgm:pt>
    <dgm:pt modelId="{6020CA06-81EF-4F6A-938D-E0A381D635A9}" type="pres">
      <dgm:prSet presAssocID="{894F9CF8-319E-443A-9C1D-E14A1412C00C}" presName="composite" presStyleCnt="0"/>
      <dgm:spPr/>
    </dgm:pt>
    <dgm:pt modelId="{834E0097-FAB4-479F-8387-69D9C1239914}" type="pres">
      <dgm:prSet presAssocID="{894F9CF8-319E-443A-9C1D-E14A1412C00C}" presName="parentText" presStyleLbl="alignNode1" presStyleIdx="7" presStyleCnt="8">
        <dgm:presLayoutVars>
          <dgm:chMax val="1"/>
          <dgm:bulletEnabled val="1"/>
        </dgm:presLayoutVars>
      </dgm:prSet>
      <dgm:spPr/>
    </dgm:pt>
    <dgm:pt modelId="{70955FFE-CE81-43BC-81BA-3BF1F31EA349}" type="pres">
      <dgm:prSet presAssocID="{894F9CF8-319E-443A-9C1D-E14A1412C00C}" presName="descendantText" presStyleLbl="alignAcc1" presStyleIdx="7" presStyleCnt="8">
        <dgm:presLayoutVars>
          <dgm:bulletEnabled val="1"/>
        </dgm:presLayoutVars>
      </dgm:prSet>
      <dgm:spPr/>
    </dgm:pt>
  </dgm:ptLst>
  <dgm:cxnLst>
    <dgm:cxn modelId="{EA9BDD01-0916-4B69-BD86-8C6AA721E58E}" type="presOf" srcId="{894F9CF8-319E-443A-9C1D-E14A1412C00C}" destId="{834E0097-FAB4-479F-8387-69D9C1239914}" srcOrd="0" destOrd="0" presId="urn:microsoft.com/office/officeart/2005/8/layout/chevron2"/>
    <dgm:cxn modelId="{A1874A0C-2CEA-4257-A4DD-128A64C5BD1C}" type="presOf" srcId="{BD5B7130-60B3-442A-9625-4D7F78A4426B}" destId="{8A2CBED0-8A28-44FD-9ECF-A3DD685FC8FF}" srcOrd="0" destOrd="0" presId="urn:microsoft.com/office/officeart/2005/8/layout/chevron2"/>
    <dgm:cxn modelId="{4DF6540F-EC68-466F-B56F-2F15C6FB77CD}" type="presOf" srcId="{A59B13DA-8CA4-46B5-90C0-7E80621990E7}" destId="{C97DE1F4-EF02-4CFE-A758-DA59AF5DDA96}" srcOrd="0" destOrd="0" presId="urn:microsoft.com/office/officeart/2005/8/layout/chevron2"/>
    <dgm:cxn modelId="{DADB7910-9ECE-4130-A216-76954ACABBA5}" srcId="{BD5B7130-60B3-442A-9625-4D7F78A4426B}" destId="{14AC0482-DAC1-4C96-9B54-E0040F7B3B7B}" srcOrd="0" destOrd="0" parTransId="{E7B651AB-A157-4227-A3E5-0711551189DF}" sibTransId="{4A345E57-392D-4598-B24D-BBBCEE7DAD6B}"/>
    <dgm:cxn modelId="{39BA862B-BC9A-4444-B92F-836FE85F20FB}" type="presOf" srcId="{A1CBF0F7-04A1-4588-B786-1DA5485627F9}" destId="{3C205DBF-B599-403A-8174-3C254FD044EF}" srcOrd="0" destOrd="0" presId="urn:microsoft.com/office/officeart/2005/8/layout/chevron2"/>
    <dgm:cxn modelId="{ABA11D31-DFFC-4764-A324-034E1BB6B76B}" type="presOf" srcId="{EF315AF2-0D69-43BA-8E4C-5A69E1ECD832}" destId="{D52CFA90-BC2C-4F7A-8ADE-D2648682BD70}" srcOrd="0" destOrd="0" presId="urn:microsoft.com/office/officeart/2005/8/layout/chevron2"/>
    <dgm:cxn modelId="{11A64C3F-866E-4140-A5F0-F11F24BB2213}" srcId="{88B332BF-2FFD-4E98-8971-5BDC13EE1B09}" destId="{8D259A60-FB39-4BC0-8701-B3496D25995A}" srcOrd="1" destOrd="0" parTransId="{BB676D9C-A8C3-4ABF-99D8-9DBFD50CFADB}" sibTransId="{E8AA36F6-7E53-4112-A295-A5564A31B19A}"/>
    <dgm:cxn modelId="{5B888D3F-62BC-4188-AF55-9752B296B739}" type="presOf" srcId="{D39556C5-3586-4F5D-8161-8537BEF2C419}" destId="{091E03D2-6907-49F1-A36E-6D40DD459173}" srcOrd="0" destOrd="0" presId="urn:microsoft.com/office/officeart/2005/8/layout/chevron2"/>
    <dgm:cxn modelId="{DB09615D-0C06-480D-BE15-246D25BD2EEA}" srcId="{A1CBF0F7-04A1-4588-B786-1DA5485627F9}" destId="{D39556C5-3586-4F5D-8161-8537BEF2C419}" srcOrd="5" destOrd="0" parTransId="{28647D68-1D69-4F41-8CB2-DCE42DAFDC6F}" sibTransId="{2864A6FF-3C5D-41DA-BEF2-5FF9FAD9EA02}"/>
    <dgm:cxn modelId="{0EF83C63-0A67-48D3-BD10-DE1C0230E832}" type="presOf" srcId="{88B332BF-2FFD-4E98-8971-5BDC13EE1B09}" destId="{8819AC01-1D14-4215-BF96-96F0502A6E76}" srcOrd="0" destOrd="0" presId="urn:microsoft.com/office/officeart/2005/8/layout/chevron2"/>
    <dgm:cxn modelId="{FF317A63-C285-485C-B056-C721397F34B6}" type="presOf" srcId="{CE16C9CD-3602-472B-99C5-002CD0D3DFEB}" destId="{92DB8D50-116E-466F-888E-0A8E1779A763}" srcOrd="0" destOrd="0" presId="urn:microsoft.com/office/officeart/2005/8/layout/chevron2"/>
    <dgm:cxn modelId="{6873E863-2C2E-45B5-95C8-B4BC0B718E3A}" type="presOf" srcId="{E59735C9-F083-4687-920F-30A65D6B09C3}" destId="{70955FFE-CE81-43BC-81BA-3BF1F31EA349}" srcOrd="0" destOrd="0" presId="urn:microsoft.com/office/officeart/2005/8/layout/chevron2"/>
    <dgm:cxn modelId="{6641BA69-F412-45F9-B0E9-4AE9D88504D5}" type="presOf" srcId="{8D259A60-FB39-4BC0-8701-B3496D25995A}" destId="{92DB8D50-116E-466F-888E-0A8E1779A763}" srcOrd="0" destOrd="1" presId="urn:microsoft.com/office/officeart/2005/8/layout/chevron2"/>
    <dgm:cxn modelId="{D755354A-4A9A-4409-B89A-9B7A378BAEE0}" srcId="{D39556C5-3586-4F5D-8161-8537BEF2C419}" destId="{994C328C-3957-4639-9172-5A42BE66A89F}" srcOrd="0" destOrd="0" parTransId="{0990B621-1B90-41BC-8700-224850D441FA}" sibTransId="{2FE3941C-FE81-4CDE-89B4-3A566337F427}"/>
    <dgm:cxn modelId="{F6C46470-95C1-47FF-AEB4-F2E34B6FC519}" type="presOf" srcId="{994C328C-3957-4639-9172-5A42BE66A89F}" destId="{6908C287-F531-4E65-97D0-5C050E6D148B}" srcOrd="0" destOrd="0" presId="urn:microsoft.com/office/officeart/2005/8/layout/chevron2"/>
    <dgm:cxn modelId="{D1FE0754-ACB8-4E27-B64E-4F812AB490B5}" srcId="{A1CBF0F7-04A1-4588-B786-1DA5485627F9}" destId="{88B332BF-2FFD-4E98-8971-5BDC13EE1B09}" srcOrd="4" destOrd="0" parTransId="{38C011E3-90DE-4B38-8D56-42ED4DDB4E9E}" sibTransId="{67C0DC26-2795-4F3B-8C7D-E7D9A5DA9FA1}"/>
    <dgm:cxn modelId="{DF166375-E647-430B-9268-2125C774598F}" srcId="{A1CBF0F7-04A1-4588-B786-1DA5485627F9}" destId="{A05389BA-248D-4A35-8FB5-CD5D1E8533EF}" srcOrd="2" destOrd="0" parTransId="{C1D95591-12EA-45FD-84F0-D0CC6BCFD716}" sibTransId="{8CB6534C-80D2-4206-AAC1-0A94515CBC34}"/>
    <dgm:cxn modelId="{B8779958-744A-4B70-ACE0-E98694817BCB}" type="presOf" srcId="{A05389BA-248D-4A35-8FB5-CD5D1E8533EF}" destId="{32014AED-CE3F-42B6-BB3C-7C4162E2A76D}" srcOrd="0" destOrd="0" presId="urn:microsoft.com/office/officeart/2005/8/layout/chevron2"/>
    <dgm:cxn modelId="{70671B7C-46A6-471F-BF17-36B884A291F5}" srcId="{A1CBF0F7-04A1-4588-B786-1DA5485627F9}" destId="{A59B13DA-8CA4-46B5-90C0-7E80621990E7}" srcOrd="6" destOrd="0" parTransId="{64D0E733-8CFA-4454-A8B4-2D70C2E5DCBC}" sibTransId="{14742639-91BC-48DA-B916-7063F5975B7D}"/>
    <dgm:cxn modelId="{A1C60F7D-651B-437F-AB7D-352E36C47DC0}" type="presOf" srcId="{C72C6B31-4FC9-4B85-BD12-4F0AAC1294C4}" destId="{512B9375-3AF3-4F1A-87ED-A183CB44D927}" srcOrd="0" destOrd="0" presId="urn:microsoft.com/office/officeart/2005/8/layout/chevron2"/>
    <dgm:cxn modelId="{4DE3E086-71CC-4D6E-83B6-E41379043722}" srcId="{A05389BA-248D-4A35-8FB5-CD5D1E8533EF}" destId="{16955823-38A5-42D7-A1BA-A101DBAF38E1}" srcOrd="0" destOrd="0" parTransId="{C0F86133-AAF1-45CD-8A16-023713EAE47C}" sibTransId="{1DEB6A2F-4C35-4231-86FD-B1F27A574D3F}"/>
    <dgm:cxn modelId="{61461187-BBB5-478D-B726-80B010A00633}" type="presOf" srcId="{B3E8B8EB-334F-40C6-8587-39F3439A656D}" destId="{70955FFE-CE81-43BC-81BA-3BF1F31EA349}" srcOrd="0" destOrd="1" presId="urn:microsoft.com/office/officeart/2005/8/layout/chevron2"/>
    <dgm:cxn modelId="{A1942D8B-72F8-45CE-8E28-608608A00FC3}" type="presOf" srcId="{B92CB291-6C4E-4AE7-9B45-3E2A4AA668B2}" destId="{0805DA78-84EE-4B05-8591-66B5397BBB6A}" srcOrd="0" destOrd="0" presId="urn:microsoft.com/office/officeart/2005/8/layout/chevron2"/>
    <dgm:cxn modelId="{44746F8F-D9DE-4B1C-8AA3-395ACF63A2A9}" srcId="{C72C6B31-4FC9-4B85-BD12-4F0AAC1294C4}" destId="{EF315AF2-0D69-43BA-8E4C-5A69E1ECD832}" srcOrd="0" destOrd="0" parTransId="{EFCE47A8-3345-4ED1-999F-A6C9CC2F8553}" sibTransId="{AD94A653-776D-47B6-99DD-BBF468D96267}"/>
    <dgm:cxn modelId="{9D333D9F-3E4B-4DA1-AFF2-909C02D3D0FE}" srcId="{894F9CF8-319E-443A-9C1D-E14A1412C00C}" destId="{B3E8B8EB-334F-40C6-8587-39F3439A656D}" srcOrd="1" destOrd="0" parTransId="{70F220FB-99C3-4C8A-AFC4-ED0CE0F11C6D}" sibTransId="{7CC59A06-077E-4D40-8C5A-60BF02F7B9F8}"/>
    <dgm:cxn modelId="{79080AA3-E478-4D71-B5BA-8F6B65A79CEF}" srcId="{894F9CF8-319E-443A-9C1D-E14A1412C00C}" destId="{E59735C9-F083-4687-920F-30A65D6B09C3}" srcOrd="0" destOrd="0" parTransId="{69D65C7F-D56C-428C-B192-8893861CCC57}" sibTransId="{8672AE27-9C91-41DD-9C73-020DADCD4E91}"/>
    <dgm:cxn modelId="{EA82FAA3-A61B-4258-A960-D85213202FF6}" srcId="{A1CBF0F7-04A1-4588-B786-1DA5485627F9}" destId="{EB13BAF2-4204-490A-9B85-944F4ED6A55D}" srcOrd="0" destOrd="0" parTransId="{CC097A1F-94E2-4120-BA11-9C8DEA68CD3C}" sibTransId="{FCA273E5-D5A3-494F-BDBA-45BB98446B1A}"/>
    <dgm:cxn modelId="{554F21AE-BA9C-40E8-88D6-775FE323318E}" type="presOf" srcId="{14AC0482-DAC1-4C96-9B54-E0040F7B3B7B}" destId="{8705FF35-A77F-4C47-B60C-2B9A7476F7D2}" srcOrd="0" destOrd="0" presId="urn:microsoft.com/office/officeart/2005/8/layout/chevron2"/>
    <dgm:cxn modelId="{A96CF1B8-4DEC-44C6-90CD-4D4B3342788C}" type="presOf" srcId="{EB13BAF2-4204-490A-9B85-944F4ED6A55D}" destId="{13AB2157-E36E-44E3-A692-FA797B31242C}" srcOrd="0" destOrd="0" presId="urn:microsoft.com/office/officeart/2005/8/layout/chevron2"/>
    <dgm:cxn modelId="{0E2606BE-22FA-463F-904C-70A9787DE1CF}" srcId="{A1CBF0F7-04A1-4588-B786-1DA5485627F9}" destId="{894F9CF8-319E-443A-9C1D-E14A1412C00C}" srcOrd="7" destOrd="0" parTransId="{B408BCCB-9EFA-47AA-8354-2149C7F7E627}" sibTransId="{133E6844-653A-4EC2-9675-4CE30FCBF41A}"/>
    <dgm:cxn modelId="{4AE6C3CE-A418-4785-AE3C-0A5E3790E047}" srcId="{A1CBF0F7-04A1-4588-B786-1DA5485627F9}" destId="{BD5B7130-60B3-442A-9625-4D7F78A4426B}" srcOrd="1" destOrd="0" parTransId="{3BA38282-9708-4582-93F4-1E364F1E0CD1}" sibTransId="{52B5AE07-BFF2-4597-8814-423D14C84099}"/>
    <dgm:cxn modelId="{4239A8D6-9C0F-4E92-9AF1-3DB6E853FFF9}" srcId="{A59B13DA-8CA4-46B5-90C0-7E80621990E7}" destId="{B92CB291-6C4E-4AE7-9B45-3E2A4AA668B2}" srcOrd="0" destOrd="0" parTransId="{F9C98224-1A44-4035-BE91-EAD30BB9A030}" sibTransId="{C5047FD9-F500-4B38-A091-5A7E45824D62}"/>
    <dgm:cxn modelId="{A878D0DD-C01D-4734-8F3D-6564CF84B683}" srcId="{88B332BF-2FFD-4E98-8971-5BDC13EE1B09}" destId="{CE16C9CD-3602-472B-99C5-002CD0D3DFEB}" srcOrd="0" destOrd="0" parTransId="{9C264F9B-E6D3-4802-932C-AE53FC4578CB}" sibTransId="{FC6D5FC2-BE8B-4CBA-A13D-030B15E77B66}"/>
    <dgm:cxn modelId="{C57056E0-8498-4246-983F-15B1D5EB739E}" srcId="{EB13BAF2-4204-490A-9B85-944F4ED6A55D}" destId="{EF567E1C-5650-4DF4-9E0D-A55EC79192B5}" srcOrd="0" destOrd="0" parTransId="{DDF1C630-FA6B-4DE1-9EAA-9F9CC774E322}" sibTransId="{F46565E8-3560-4069-8314-EE544D8E0E94}"/>
    <dgm:cxn modelId="{EF9A53E5-9D82-4E13-AA1F-18394556F920}" srcId="{A1CBF0F7-04A1-4588-B786-1DA5485627F9}" destId="{C72C6B31-4FC9-4B85-BD12-4F0AAC1294C4}" srcOrd="3" destOrd="0" parTransId="{E9F4EF0F-35F6-40C0-9F38-5D2FF9B30DFD}" sibTransId="{642B0C6B-4282-4B90-A9AA-E22294AE2C32}"/>
    <dgm:cxn modelId="{CD1AF9F3-4861-4254-BF3B-12950C0891A4}" type="presOf" srcId="{EF567E1C-5650-4DF4-9E0D-A55EC79192B5}" destId="{0B6E0F5E-126C-4483-9CD2-E4ACFFAAA74A}" srcOrd="0" destOrd="0" presId="urn:microsoft.com/office/officeart/2005/8/layout/chevron2"/>
    <dgm:cxn modelId="{E14F5FF5-43A6-4389-82C7-F4EE0434D709}" type="presOf" srcId="{16955823-38A5-42D7-A1BA-A101DBAF38E1}" destId="{4F10B2C1-49A4-41E2-86C4-8AA49ADCC822}" srcOrd="0" destOrd="0" presId="urn:microsoft.com/office/officeart/2005/8/layout/chevron2"/>
    <dgm:cxn modelId="{70C8C584-C4D4-424B-B18B-BFCB0B99CA5C}" type="presParOf" srcId="{3C205DBF-B599-403A-8174-3C254FD044EF}" destId="{51F7952A-24C5-4C20-A9FD-D697C20E4029}" srcOrd="0" destOrd="0" presId="urn:microsoft.com/office/officeart/2005/8/layout/chevron2"/>
    <dgm:cxn modelId="{F0F8161F-DD04-4359-A552-D48ACC351688}" type="presParOf" srcId="{51F7952A-24C5-4C20-A9FD-D697C20E4029}" destId="{13AB2157-E36E-44E3-A692-FA797B31242C}" srcOrd="0" destOrd="0" presId="urn:microsoft.com/office/officeart/2005/8/layout/chevron2"/>
    <dgm:cxn modelId="{FB88B8CF-05D3-4225-A24C-A286D89D23A8}" type="presParOf" srcId="{51F7952A-24C5-4C20-A9FD-D697C20E4029}" destId="{0B6E0F5E-126C-4483-9CD2-E4ACFFAAA74A}" srcOrd="1" destOrd="0" presId="urn:microsoft.com/office/officeart/2005/8/layout/chevron2"/>
    <dgm:cxn modelId="{81EACF38-822A-4EA0-8951-61E7B38F0D3D}" type="presParOf" srcId="{3C205DBF-B599-403A-8174-3C254FD044EF}" destId="{79586A51-2CDD-4094-BF39-571E234CFA98}" srcOrd="1" destOrd="0" presId="urn:microsoft.com/office/officeart/2005/8/layout/chevron2"/>
    <dgm:cxn modelId="{8EAB093B-2E04-4CB6-BB22-D5FC143BA1F6}" type="presParOf" srcId="{3C205DBF-B599-403A-8174-3C254FD044EF}" destId="{0163A56A-34CF-484E-A99F-1066E7C70FFF}" srcOrd="2" destOrd="0" presId="urn:microsoft.com/office/officeart/2005/8/layout/chevron2"/>
    <dgm:cxn modelId="{DC72CE3F-92B3-4318-9F65-3197BA1F4D48}" type="presParOf" srcId="{0163A56A-34CF-484E-A99F-1066E7C70FFF}" destId="{8A2CBED0-8A28-44FD-9ECF-A3DD685FC8FF}" srcOrd="0" destOrd="0" presId="urn:microsoft.com/office/officeart/2005/8/layout/chevron2"/>
    <dgm:cxn modelId="{A734DDE1-0498-43A5-B268-2E0DDF0D91A1}" type="presParOf" srcId="{0163A56A-34CF-484E-A99F-1066E7C70FFF}" destId="{8705FF35-A77F-4C47-B60C-2B9A7476F7D2}" srcOrd="1" destOrd="0" presId="urn:microsoft.com/office/officeart/2005/8/layout/chevron2"/>
    <dgm:cxn modelId="{1B5915EE-DF05-4B61-97F0-E74104E6E460}" type="presParOf" srcId="{3C205DBF-B599-403A-8174-3C254FD044EF}" destId="{4C1114EF-C0B5-4E23-B61B-B267F0DE603C}" srcOrd="3" destOrd="0" presId="urn:microsoft.com/office/officeart/2005/8/layout/chevron2"/>
    <dgm:cxn modelId="{3551538A-E049-4667-A559-14E46555AF2C}" type="presParOf" srcId="{3C205DBF-B599-403A-8174-3C254FD044EF}" destId="{775FD88E-D9BE-4326-B64E-CAFB0BFB7446}" srcOrd="4" destOrd="0" presId="urn:microsoft.com/office/officeart/2005/8/layout/chevron2"/>
    <dgm:cxn modelId="{C9A818B3-BFF0-4272-AFE4-B4CB70FB9F44}" type="presParOf" srcId="{775FD88E-D9BE-4326-B64E-CAFB0BFB7446}" destId="{32014AED-CE3F-42B6-BB3C-7C4162E2A76D}" srcOrd="0" destOrd="0" presId="urn:microsoft.com/office/officeart/2005/8/layout/chevron2"/>
    <dgm:cxn modelId="{A18F37A7-2CCA-40BE-AF3C-14843E3D6AE4}" type="presParOf" srcId="{775FD88E-D9BE-4326-B64E-CAFB0BFB7446}" destId="{4F10B2C1-49A4-41E2-86C4-8AA49ADCC822}" srcOrd="1" destOrd="0" presId="urn:microsoft.com/office/officeart/2005/8/layout/chevron2"/>
    <dgm:cxn modelId="{F4830177-AF51-4538-B9B2-17071A432953}" type="presParOf" srcId="{3C205DBF-B599-403A-8174-3C254FD044EF}" destId="{AC054292-7925-4C89-9B30-07B377C0EAE8}" srcOrd="5" destOrd="0" presId="urn:microsoft.com/office/officeart/2005/8/layout/chevron2"/>
    <dgm:cxn modelId="{BD169170-11B4-4BAC-827A-7713471F09B0}" type="presParOf" srcId="{3C205DBF-B599-403A-8174-3C254FD044EF}" destId="{BEA8C487-7758-4182-96F6-562A2803EAAF}" srcOrd="6" destOrd="0" presId="urn:microsoft.com/office/officeart/2005/8/layout/chevron2"/>
    <dgm:cxn modelId="{7C1819BD-55F7-4D27-8E07-3DD0A652ABB2}" type="presParOf" srcId="{BEA8C487-7758-4182-96F6-562A2803EAAF}" destId="{512B9375-3AF3-4F1A-87ED-A183CB44D927}" srcOrd="0" destOrd="0" presId="urn:microsoft.com/office/officeart/2005/8/layout/chevron2"/>
    <dgm:cxn modelId="{68D052E1-FDE1-4DBB-80EC-CC55402A620A}" type="presParOf" srcId="{BEA8C487-7758-4182-96F6-562A2803EAAF}" destId="{D52CFA90-BC2C-4F7A-8ADE-D2648682BD70}" srcOrd="1" destOrd="0" presId="urn:microsoft.com/office/officeart/2005/8/layout/chevron2"/>
    <dgm:cxn modelId="{414A2BF8-C7A6-4434-8B2B-BD203A359451}" type="presParOf" srcId="{3C205DBF-B599-403A-8174-3C254FD044EF}" destId="{7ED33BA7-E1B1-4944-B328-910F5D799B61}" srcOrd="7" destOrd="0" presId="urn:microsoft.com/office/officeart/2005/8/layout/chevron2"/>
    <dgm:cxn modelId="{16F66CC4-68D7-4CCC-9DA3-157F00B61843}" type="presParOf" srcId="{3C205DBF-B599-403A-8174-3C254FD044EF}" destId="{D4C83F82-C82B-42E8-8E46-A026A4E934B5}" srcOrd="8" destOrd="0" presId="urn:microsoft.com/office/officeart/2005/8/layout/chevron2"/>
    <dgm:cxn modelId="{FC34BE83-4494-4607-B88C-C39FB792E6AC}" type="presParOf" srcId="{D4C83F82-C82B-42E8-8E46-A026A4E934B5}" destId="{8819AC01-1D14-4215-BF96-96F0502A6E76}" srcOrd="0" destOrd="0" presId="urn:microsoft.com/office/officeart/2005/8/layout/chevron2"/>
    <dgm:cxn modelId="{35668AAF-A872-478A-A464-1A0C90EE1AE1}" type="presParOf" srcId="{D4C83F82-C82B-42E8-8E46-A026A4E934B5}" destId="{92DB8D50-116E-466F-888E-0A8E1779A763}" srcOrd="1" destOrd="0" presId="urn:microsoft.com/office/officeart/2005/8/layout/chevron2"/>
    <dgm:cxn modelId="{0A227C4E-5061-490F-AD85-0A82BA093528}" type="presParOf" srcId="{3C205DBF-B599-403A-8174-3C254FD044EF}" destId="{3F25691E-71F1-4934-894D-C3F315F7969B}" srcOrd="9" destOrd="0" presId="urn:microsoft.com/office/officeart/2005/8/layout/chevron2"/>
    <dgm:cxn modelId="{348BEFE6-2ECD-430E-820F-C500B613B6AD}" type="presParOf" srcId="{3C205DBF-B599-403A-8174-3C254FD044EF}" destId="{0F7A17B7-2950-490C-9EB7-1FBD590966D8}" srcOrd="10" destOrd="0" presId="urn:microsoft.com/office/officeart/2005/8/layout/chevron2"/>
    <dgm:cxn modelId="{A672CB56-41C8-429A-BDEA-CDEB534F55BC}" type="presParOf" srcId="{0F7A17B7-2950-490C-9EB7-1FBD590966D8}" destId="{091E03D2-6907-49F1-A36E-6D40DD459173}" srcOrd="0" destOrd="0" presId="urn:microsoft.com/office/officeart/2005/8/layout/chevron2"/>
    <dgm:cxn modelId="{CF689FED-7363-43F6-AC0D-A650C859D25B}" type="presParOf" srcId="{0F7A17B7-2950-490C-9EB7-1FBD590966D8}" destId="{6908C287-F531-4E65-97D0-5C050E6D148B}" srcOrd="1" destOrd="0" presId="urn:microsoft.com/office/officeart/2005/8/layout/chevron2"/>
    <dgm:cxn modelId="{44BA8A0D-8E6B-4C9B-ADC6-B8F137BF67F5}" type="presParOf" srcId="{3C205DBF-B599-403A-8174-3C254FD044EF}" destId="{690F8575-2FA6-4C98-8976-2E6CF595E875}" srcOrd="11" destOrd="0" presId="urn:microsoft.com/office/officeart/2005/8/layout/chevron2"/>
    <dgm:cxn modelId="{DEB8F335-C4F0-44D0-82BD-289F91FA1C9D}" type="presParOf" srcId="{3C205DBF-B599-403A-8174-3C254FD044EF}" destId="{E533AA6D-3971-443B-B14A-996636B9A560}" srcOrd="12" destOrd="0" presId="urn:microsoft.com/office/officeart/2005/8/layout/chevron2"/>
    <dgm:cxn modelId="{96A95DDD-214D-4179-84F0-11299D29BB04}" type="presParOf" srcId="{E533AA6D-3971-443B-B14A-996636B9A560}" destId="{C97DE1F4-EF02-4CFE-A758-DA59AF5DDA96}" srcOrd="0" destOrd="0" presId="urn:microsoft.com/office/officeart/2005/8/layout/chevron2"/>
    <dgm:cxn modelId="{11EDCAFB-2705-4629-A20C-275DA00275B2}" type="presParOf" srcId="{E533AA6D-3971-443B-B14A-996636B9A560}" destId="{0805DA78-84EE-4B05-8591-66B5397BBB6A}" srcOrd="1" destOrd="0" presId="urn:microsoft.com/office/officeart/2005/8/layout/chevron2"/>
    <dgm:cxn modelId="{EACAB668-80D4-42BD-A1CC-5DE6153F29A8}" type="presParOf" srcId="{3C205DBF-B599-403A-8174-3C254FD044EF}" destId="{7A15918D-840F-4310-93D1-CC7977D54C8C}" srcOrd="13" destOrd="0" presId="urn:microsoft.com/office/officeart/2005/8/layout/chevron2"/>
    <dgm:cxn modelId="{D04A0349-C700-455D-8337-FBD04766310F}" type="presParOf" srcId="{3C205DBF-B599-403A-8174-3C254FD044EF}" destId="{6020CA06-81EF-4F6A-938D-E0A381D635A9}" srcOrd="14" destOrd="0" presId="urn:microsoft.com/office/officeart/2005/8/layout/chevron2"/>
    <dgm:cxn modelId="{29210B35-ECBD-4499-A942-3F8ABF03E0A0}" type="presParOf" srcId="{6020CA06-81EF-4F6A-938D-E0A381D635A9}" destId="{834E0097-FAB4-479F-8387-69D9C1239914}" srcOrd="0" destOrd="0" presId="urn:microsoft.com/office/officeart/2005/8/layout/chevron2"/>
    <dgm:cxn modelId="{6CD9FDD5-B0B8-4436-A998-4B3C1974243E}" type="presParOf" srcId="{6020CA06-81EF-4F6A-938D-E0A381D635A9}" destId="{70955FFE-CE81-43BC-81BA-3BF1F31EA349}"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4334D40-EA81-4AC7-B168-7ACC3B9F9061}" type="doc">
      <dgm:prSet loTypeId="urn:microsoft.com/office/officeart/2005/8/layout/lProcess3" loCatId="process" qsTypeId="urn:microsoft.com/office/officeart/2005/8/quickstyle/simple1" qsCatId="simple" csTypeId="urn:microsoft.com/office/officeart/2005/8/colors/accent2_1" csCatId="accent2" phldr="1"/>
      <dgm:spPr/>
      <dgm:t>
        <a:bodyPr/>
        <a:lstStyle/>
        <a:p>
          <a:endParaRPr lang="en-GB"/>
        </a:p>
      </dgm:t>
    </dgm:pt>
    <dgm:pt modelId="{571C323A-209C-4297-ABF9-C0C7F0A1667A}">
      <dgm:prSet phldrT="[Text]"/>
      <dgm:spPr/>
      <dgm:t>
        <a:bodyPr/>
        <a:lstStyle/>
        <a:p>
          <a:r>
            <a:rPr lang="el-GR" dirty="0"/>
            <a:t>Καθολικότητα</a:t>
          </a:r>
          <a:endParaRPr lang="en-GB" dirty="0"/>
        </a:p>
      </dgm:t>
    </dgm:pt>
    <dgm:pt modelId="{40089022-7AC5-4A40-BDB8-C17B162548CD}" type="parTrans" cxnId="{1B170BD4-3C98-457A-95C6-57C5CA2AF83B}">
      <dgm:prSet/>
      <dgm:spPr/>
      <dgm:t>
        <a:bodyPr/>
        <a:lstStyle/>
        <a:p>
          <a:endParaRPr lang="en-GB"/>
        </a:p>
      </dgm:t>
    </dgm:pt>
    <dgm:pt modelId="{9151334A-9F24-44C8-8613-235D91E200A3}" type="sibTrans" cxnId="{1B170BD4-3C98-457A-95C6-57C5CA2AF83B}">
      <dgm:prSet/>
      <dgm:spPr/>
      <dgm:t>
        <a:bodyPr/>
        <a:lstStyle/>
        <a:p>
          <a:endParaRPr lang="en-GB"/>
        </a:p>
      </dgm:t>
    </dgm:pt>
    <dgm:pt modelId="{985C1FC9-81C3-4130-97BE-2CD2D8E5CE64}">
      <dgm:prSet phldrT="[Text]">
        <dgm:style>
          <a:lnRef idx="1">
            <a:schemeClr val="accent2"/>
          </a:lnRef>
          <a:fillRef idx="2">
            <a:schemeClr val="accent2"/>
          </a:fillRef>
          <a:effectRef idx="1">
            <a:schemeClr val="accent2"/>
          </a:effectRef>
          <a:fontRef idx="minor">
            <a:schemeClr val="dk1"/>
          </a:fontRef>
        </dgm:style>
      </dgm:prSet>
      <dgm:spPr>
        <a:solidFill>
          <a:schemeClr val="accent6">
            <a:lumMod val="20000"/>
            <a:lumOff val="80000"/>
          </a:schemeClr>
        </a:solidFill>
      </dgm:spPr>
      <dgm:t>
        <a:bodyPr/>
        <a:lstStyle/>
        <a:p>
          <a:r>
            <a:rPr lang="el-GR" dirty="0"/>
            <a:t>Κάλυψη όλου του πληθυσμού </a:t>
          </a:r>
          <a:endParaRPr lang="en-GB" dirty="0"/>
        </a:p>
      </dgm:t>
    </dgm:pt>
    <dgm:pt modelId="{1D1491BE-459A-42F3-B7D0-F5603A98AE5C}" type="parTrans" cxnId="{5D35ABA0-8623-41B3-83D5-740C2A4B2027}">
      <dgm:prSet/>
      <dgm:spPr/>
      <dgm:t>
        <a:bodyPr/>
        <a:lstStyle/>
        <a:p>
          <a:endParaRPr lang="en-GB"/>
        </a:p>
      </dgm:t>
    </dgm:pt>
    <dgm:pt modelId="{ABEB5D66-2923-4198-ADFE-7E16B26460E2}" type="sibTrans" cxnId="{5D35ABA0-8623-41B3-83D5-740C2A4B2027}">
      <dgm:prSet/>
      <dgm:spPr/>
      <dgm:t>
        <a:bodyPr/>
        <a:lstStyle/>
        <a:p>
          <a:endParaRPr lang="en-GB"/>
        </a:p>
      </dgm:t>
    </dgm:pt>
    <dgm:pt modelId="{B6D0B2D5-FB61-4027-8180-35FF1075DC68}">
      <dgm:prSet phldrT="[Text]"/>
      <dgm:spPr/>
      <dgm:t>
        <a:bodyPr/>
        <a:lstStyle/>
        <a:p>
          <a:r>
            <a:rPr lang="el-GR" dirty="0"/>
            <a:t>Ισονομία</a:t>
          </a:r>
        </a:p>
      </dgm:t>
    </dgm:pt>
    <dgm:pt modelId="{AD3A5B94-0693-410E-B02D-D175A7593962}" type="parTrans" cxnId="{F4908AC1-1D78-473F-821F-8F9C81DAD4F9}">
      <dgm:prSet/>
      <dgm:spPr/>
      <dgm:t>
        <a:bodyPr/>
        <a:lstStyle/>
        <a:p>
          <a:endParaRPr lang="en-GB"/>
        </a:p>
      </dgm:t>
    </dgm:pt>
    <dgm:pt modelId="{2B8106D4-DA47-4731-92E1-D32C8ECED8D3}" type="sibTrans" cxnId="{F4908AC1-1D78-473F-821F-8F9C81DAD4F9}">
      <dgm:prSet/>
      <dgm:spPr/>
      <dgm:t>
        <a:bodyPr/>
        <a:lstStyle/>
        <a:p>
          <a:endParaRPr lang="en-GB"/>
        </a:p>
      </dgm:t>
    </dgm:pt>
    <dgm:pt modelId="{8A255E67-F2CB-4D8A-9362-730C4F8D0E7B}">
      <dgm:prSet phldrT="[Text]">
        <dgm:style>
          <a:lnRef idx="1">
            <a:schemeClr val="accent2"/>
          </a:lnRef>
          <a:fillRef idx="2">
            <a:schemeClr val="accent2"/>
          </a:fillRef>
          <a:effectRef idx="1">
            <a:schemeClr val="accent2"/>
          </a:effectRef>
          <a:fontRef idx="minor">
            <a:schemeClr val="dk1"/>
          </a:fontRef>
        </dgm:style>
      </dgm:prSet>
      <dgm:spPr>
        <a:solidFill>
          <a:schemeClr val="accent6">
            <a:lumMod val="20000"/>
            <a:lumOff val="80000"/>
          </a:schemeClr>
        </a:solidFill>
      </dgm:spPr>
      <dgm:t>
        <a:bodyPr/>
        <a:lstStyle/>
        <a:p>
          <a:r>
            <a:rPr lang="el-GR" dirty="0"/>
            <a:t>Ισότιμη πρόσβαση των δικαιούχων σε υπηρεσίες υγείας</a:t>
          </a:r>
          <a:endParaRPr lang="en-GB" dirty="0"/>
        </a:p>
      </dgm:t>
    </dgm:pt>
    <dgm:pt modelId="{D2ADCF39-68EE-466D-BA07-0806B5D9A9B4}" type="parTrans" cxnId="{83B9C2F0-DFE3-4D27-8A13-67E2CCD61CF1}">
      <dgm:prSet/>
      <dgm:spPr/>
      <dgm:t>
        <a:bodyPr/>
        <a:lstStyle/>
        <a:p>
          <a:endParaRPr lang="en-GB"/>
        </a:p>
      </dgm:t>
    </dgm:pt>
    <dgm:pt modelId="{5FC94D84-89BF-421A-AB73-0552D8AAD489}" type="sibTrans" cxnId="{83B9C2F0-DFE3-4D27-8A13-67E2CCD61CF1}">
      <dgm:prSet/>
      <dgm:spPr/>
      <dgm:t>
        <a:bodyPr/>
        <a:lstStyle/>
        <a:p>
          <a:endParaRPr lang="en-GB"/>
        </a:p>
      </dgm:t>
    </dgm:pt>
    <dgm:pt modelId="{C627FFBC-192A-469A-BA38-C6129DD31FFD}">
      <dgm:prSet phldrT="[Text]"/>
      <dgm:spPr/>
      <dgm:t>
        <a:bodyPr/>
        <a:lstStyle/>
        <a:p>
          <a:r>
            <a:rPr lang="el-GR" dirty="0"/>
            <a:t>Αλληλεγγύη</a:t>
          </a:r>
          <a:endParaRPr lang="en-GB" dirty="0"/>
        </a:p>
      </dgm:t>
    </dgm:pt>
    <dgm:pt modelId="{5B6153CE-0750-4CF1-906B-C07B5407953C}" type="parTrans" cxnId="{1EC6D88A-99BD-48C2-9C74-0795612D2945}">
      <dgm:prSet/>
      <dgm:spPr/>
      <dgm:t>
        <a:bodyPr/>
        <a:lstStyle/>
        <a:p>
          <a:endParaRPr lang="en-GB"/>
        </a:p>
      </dgm:t>
    </dgm:pt>
    <dgm:pt modelId="{A4D3D8BF-BA76-4BF2-BF25-FD838399740E}" type="sibTrans" cxnId="{1EC6D88A-99BD-48C2-9C74-0795612D2945}">
      <dgm:prSet/>
      <dgm:spPr/>
      <dgm:t>
        <a:bodyPr/>
        <a:lstStyle/>
        <a:p>
          <a:endParaRPr lang="en-GB"/>
        </a:p>
      </dgm:t>
    </dgm:pt>
    <dgm:pt modelId="{F89C4BDB-1BB7-430F-AA80-3A83D4FF780D}">
      <dgm:prSet phldrT="[Text]">
        <dgm:style>
          <a:lnRef idx="1">
            <a:schemeClr val="accent2"/>
          </a:lnRef>
          <a:fillRef idx="2">
            <a:schemeClr val="accent2"/>
          </a:fillRef>
          <a:effectRef idx="1">
            <a:schemeClr val="accent2"/>
          </a:effectRef>
          <a:fontRef idx="minor">
            <a:schemeClr val="dk1"/>
          </a:fontRef>
        </dgm:style>
      </dgm:prSet>
      <dgm:spPr>
        <a:solidFill>
          <a:schemeClr val="accent6">
            <a:lumMod val="20000"/>
            <a:lumOff val="80000"/>
          </a:schemeClr>
        </a:solidFill>
      </dgm:spPr>
      <dgm:t>
        <a:bodyPr/>
        <a:lstStyle/>
        <a:p>
          <a:r>
            <a:rPr lang="el-GR" dirty="0"/>
            <a:t>Συνεισφορά με βάση τα εισοδήματα</a:t>
          </a:r>
          <a:endParaRPr lang="en-GB" dirty="0"/>
        </a:p>
      </dgm:t>
    </dgm:pt>
    <dgm:pt modelId="{7FB2F24F-BCC3-44DE-92EA-85A59439150E}" type="parTrans" cxnId="{4725BF03-FED5-4DE4-AEF8-400D5B84FBE3}">
      <dgm:prSet/>
      <dgm:spPr/>
      <dgm:t>
        <a:bodyPr/>
        <a:lstStyle/>
        <a:p>
          <a:endParaRPr lang="en-GB"/>
        </a:p>
      </dgm:t>
    </dgm:pt>
    <dgm:pt modelId="{E01DE515-7F5E-4F45-A1FA-FA74E5EC5E5B}" type="sibTrans" cxnId="{4725BF03-FED5-4DE4-AEF8-400D5B84FBE3}">
      <dgm:prSet/>
      <dgm:spPr/>
      <dgm:t>
        <a:bodyPr/>
        <a:lstStyle/>
        <a:p>
          <a:endParaRPr lang="en-GB"/>
        </a:p>
      </dgm:t>
    </dgm:pt>
    <dgm:pt modelId="{0B01E15F-FB6D-44D5-8E42-83A9B5C92D52}">
      <dgm:prSet phldrT="[Text]"/>
      <dgm:spPr/>
      <dgm:t>
        <a:bodyPr/>
        <a:lstStyle/>
        <a:p>
          <a:r>
            <a:rPr lang="el-GR" dirty="0"/>
            <a:t>Ελεύθερη επιλογή</a:t>
          </a:r>
          <a:endParaRPr lang="en-GB" dirty="0"/>
        </a:p>
      </dgm:t>
    </dgm:pt>
    <dgm:pt modelId="{B24CA741-6DF8-49EE-A901-3A0492527E77}" type="sibTrans" cxnId="{377B9AA4-8A9C-413A-91DA-9565C0D07FD3}">
      <dgm:prSet/>
      <dgm:spPr/>
      <dgm:t>
        <a:bodyPr/>
        <a:lstStyle/>
        <a:p>
          <a:endParaRPr lang="en-GB"/>
        </a:p>
      </dgm:t>
    </dgm:pt>
    <dgm:pt modelId="{CE510457-6CFD-4D6E-AB0D-87FC54A12E97}" type="parTrans" cxnId="{377B9AA4-8A9C-413A-91DA-9565C0D07FD3}">
      <dgm:prSet/>
      <dgm:spPr/>
      <dgm:t>
        <a:bodyPr/>
        <a:lstStyle/>
        <a:p>
          <a:endParaRPr lang="en-GB"/>
        </a:p>
      </dgm:t>
    </dgm:pt>
    <dgm:pt modelId="{354117AC-442E-4934-99AB-DA005E8055A3}">
      <dgm:prSet phldrT="[Text]">
        <dgm:style>
          <a:lnRef idx="1">
            <a:schemeClr val="accent2"/>
          </a:lnRef>
          <a:fillRef idx="2">
            <a:schemeClr val="accent2"/>
          </a:fillRef>
          <a:effectRef idx="1">
            <a:schemeClr val="accent2"/>
          </a:effectRef>
          <a:fontRef idx="minor">
            <a:schemeClr val="dk1"/>
          </a:fontRef>
        </dgm:style>
      </dgm:prSet>
      <dgm:spPr>
        <a:solidFill>
          <a:schemeClr val="accent6">
            <a:lumMod val="20000"/>
            <a:lumOff val="80000"/>
          </a:schemeClr>
        </a:solidFill>
      </dgm:spPr>
      <dgm:t>
        <a:bodyPr/>
        <a:lstStyle/>
        <a:p>
          <a:r>
            <a:rPr lang="el-GR" dirty="0"/>
            <a:t>Ο ασθενής επιλέγει ελεύθερα τον παροχέα υπηρεσιών υγείας</a:t>
          </a:r>
          <a:endParaRPr lang="en-GB" dirty="0"/>
        </a:p>
      </dgm:t>
    </dgm:pt>
    <dgm:pt modelId="{EB1A7966-3E3D-4811-8253-7E25BFEFB521}" type="parTrans" cxnId="{85BD32E3-3C11-494B-9FE3-D519B686C0EE}">
      <dgm:prSet/>
      <dgm:spPr/>
      <dgm:t>
        <a:bodyPr/>
        <a:lstStyle/>
        <a:p>
          <a:endParaRPr lang="en-GB"/>
        </a:p>
      </dgm:t>
    </dgm:pt>
    <dgm:pt modelId="{B0E29E31-A93A-4E39-84FF-741910895F68}" type="sibTrans" cxnId="{85BD32E3-3C11-494B-9FE3-D519B686C0EE}">
      <dgm:prSet/>
      <dgm:spPr/>
      <dgm:t>
        <a:bodyPr/>
        <a:lstStyle/>
        <a:p>
          <a:endParaRPr lang="en-GB"/>
        </a:p>
      </dgm:t>
    </dgm:pt>
    <dgm:pt modelId="{4BC76CAA-720C-4331-8809-A531D3A16E12}" type="pres">
      <dgm:prSet presAssocID="{44334D40-EA81-4AC7-B168-7ACC3B9F9061}" presName="Name0" presStyleCnt="0">
        <dgm:presLayoutVars>
          <dgm:chPref val="3"/>
          <dgm:dir/>
          <dgm:animLvl val="lvl"/>
          <dgm:resizeHandles/>
        </dgm:presLayoutVars>
      </dgm:prSet>
      <dgm:spPr/>
    </dgm:pt>
    <dgm:pt modelId="{57065209-F050-4B1F-9032-98BF45799088}" type="pres">
      <dgm:prSet presAssocID="{571C323A-209C-4297-ABF9-C0C7F0A1667A}" presName="horFlow" presStyleCnt="0"/>
      <dgm:spPr/>
    </dgm:pt>
    <dgm:pt modelId="{643FEBA7-9ED5-4628-91D8-AFD26EA1D25E}" type="pres">
      <dgm:prSet presAssocID="{571C323A-209C-4297-ABF9-C0C7F0A1667A}" presName="bigChev" presStyleLbl="node1" presStyleIdx="0" presStyleCnt="4" custLinFactNeighborX="-95852"/>
      <dgm:spPr/>
    </dgm:pt>
    <dgm:pt modelId="{C5C106D9-194B-4C2E-A885-64CDEE92D034}" type="pres">
      <dgm:prSet presAssocID="{1D1491BE-459A-42F3-B7D0-F5603A98AE5C}" presName="parTrans" presStyleCnt="0"/>
      <dgm:spPr/>
    </dgm:pt>
    <dgm:pt modelId="{63DC838A-2858-47BF-933C-28B0E87FAD2C}" type="pres">
      <dgm:prSet presAssocID="{985C1FC9-81C3-4130-97BE-2CD2D8E5CE64}" presName="node" presStyleLbl="alignAccFollowNode1" presStyleIdx="0" presStyleCnt="4" custScaleX="234714" custLinFactNeighborX="95853">
        <dgm:presLayoutVars>
          <dgm:bulletEnabled val="1"/>
        </dgm:presLayoutVars>
      </dgm:prSet>
      <dgm:spPr>
        <a:prstGeom prst="roundRect">
          <a:avLst/>
        </a:prstGeom>
      </dgm:spPr>
    </dgm:pt>
    <dgm:pt modelId="{0F631CA6-0730-442F-B986-4C63139BECCB}" type="pres">
      <dgm:prSet presAssocID="{571C323A-209C-4297-ABF9-C0C7F0A1667A}" presName="vSp" presStyleCnt="0"/>
      <dgm:spPr/>
    </dgm:pt>
    <dgm:pt modelId="{C69417E3-EF96-490A-A1E6-82FC367E4EC3}" type="pres">
      <dgm:prSet presAssocID="{B6D0B2D5-FB61-4027-8180-35FF1075DC68}" presName="horFlow" presStyleCnt="0"/>
      <dgm:spPr/>
    </dgm:pt>
    <dgm:pt modelId="{48D9A5AB-BD8B-4BAC-9B64-2E7F7BCF5165}" type="pres">
      <dgm:prSet presAssocID="{B6D0B2D5-FB61-4027-8180-35FF1075DC68}" presName="bigChev" presStyleLbl="node1" presStyleIdx="1" presStyleCnt="4" custLinFactNeighborX="-95852"/>
      <dgm:spPr/>
    </dgm:pt>
    <dgm:pt modelId="{85136C50-9E55-438E-924C-906B1C5F6650}" type="pres">
      <dgm:prSet presAssocID="{D2ADCF39-68EE-466D-BA07-0806B5D9A9B4}" presName="parTrans" presStyleCnt="0"/>
      <dgm:spPr/>
    </dgm:pt>
    <dgm:pt modelId="{EBCE48BF-F72B-4979-896A-D4AEF9289A6D}" type="pres">
      <dgm:prSet presAssocID="{8A255E67-F2CB-4D8A-9362-730C4F8D0E7B}" presName="node" presStyleLbl="alignAccFollowNode1" presStyleIdx="1" presStyleCnt="4" custScaleX="234714" custLinFactNeighborX="95853">
        <dgm:presLayoutVars>
          <dgm:bulletEnabled val="1"/>
        </dgm:presLayoutVars>
      </dgm:prSet>
      <dgm:spPr>
        <a:prstGeom prst="roundRect">
          <a:avLst/>
        </a:prstGeom>
      </dgm:spPr>
    </dgm:pt>
    <dgm:pt modelId="{C5083FAE-5F1E-42DD-8816-1F1310CE0695}" type="pres">
      <dgm:prSet presAssocID="{B6D0B2D5-FB61-4027-8180-35FF1075DC68}" presName="vSp" presStyleCnt="0"/>
      <dgm:spPr/>
    </dgm:pt>
    <dgm:pt modelId="{ADDF897B-38EE-48BD-B142-F1946D9A7E3F}" type="pres">
      <dgm:prSet presAssocID="{C627FFBC-192A-469A-BA38-C6129DD31FFD}" presName="horFlow" presStyleCnt="0"/>
      <dgm:spPr/>
    </dgm:pt>
    <dgm:pt modelId="{3348B249-9D51-4051-8BBE-1F583B54385E}" type="pres">
      <dgm:prSet presAssocID="{C627FFBC-192A-469A-BA38-C6129DD31FFD}" presName="bigChev" presStyleLbl="node1" presStyleIdx="2" presStyleCnt="4" custLinFactNeighborX="-95852"/>
      <dgm:spPr/>
    </dgm:pt>
    <dgm:pt modelId="{477D7528-81C1-4307-BFE7-3D9A96F3FB5D}" type="pres">
      <dgm:prSet presAssocID="{7FB2F24F-BCC3-44DE-92EA-85A59439150E}" presName="parTrans" presStyleCnt="0"/>
      <dgm:spPr/>
    </dgm:pt>
    <dgm:pt modelId="{CB161AB4-D0C7-415F-BE7B-3963A7705F17}" type="pres">
      <dgm:prSet presAssocID="{F89C4BDB-1BB7-430F-AA80-3A83D4FF780D}" presName="node" presStyleLbl="alignAccFollowNode1" presStyleIdx="2" presStyleCnt="4" custScaleX="234714" custLinFactNeighborX="95853">
        <dgm:presLayoutVars>
          <dgm:bulletEnabled val="1"/>
        </dgm:presLayoutVars>
      </dgm:prSet>
      <dgm:spPr>
        <a:prstGeom prst="roundRect">
          <a:avLst/>
        </a:prstGeom>
      </dgm:spPr>
    </dgm:pt>
    <dgm:pt modelId="{9BE18991-05F2-483C-9203-BB9FB1D5AA7D}" type="pres">
      <dgm:prSet presAssocID="{C627FFBC-192A-469A-BA38-C6129DD31FFD}" presName="vSp" presStyleCnt="0"/>
      <dgm:spPr/>
    </dgm:pt>
    <dgm:pt modelId="{B21AC026-094F-42B5-9782-7759D6A3EBC8}" type="pres">
      <dgm:prSet presAssocID="{0B01E15F-FB6D-44D5-8E42-83A9B5C92D52}" presName="horFlow" presStyleCnt="0"/>
      <dgm:spPr/>
    </dgm:pt>
    <dgm:pt modelId="{59C7A3C8-9309-4B1A-B134-0332F25FD18E}" type="pres">
      <dgm:prSet presAssocID="{0B01E15F-FB6D-44D5-8E42-83A9B5C92D52}" presName="bigChev" presStyleLbl="node1" presStyleIdx="3" presStyleCnt="4" custLinFactNeighborX="-95852"/>
      <dgm:spPr/>
    </dgm:pt>
    <dgm:pt modelId="{918F428D-3E9A-421B-A1CA-F5902A76474F}" type="pres">
      <dgm:prSet presAssocID="{EB1A7966-3E3D-4811-8253-7E25BFEFB521}" presName="parTrans" presStyleCnt="0"/>
      <dgm:spPr/>
    </dgm:pt>
    <dgm:pt modelId="{DA74EC2B-0FD5-42EF-96F3-8FB9576764E5}" type="pres">
      <dgm:prSet presAssocID="{354117AC-442E-4934-99AB-DA005E8055A3}" presName="node" presStyleLbl="alignAccFollowNode1" presStyleIdx="3" presStyleCnt="4" custScaleX="234714" custLinFactNeighborX="95853">
        <dgm:presLayoutVars>
          <dgm:bulletEnabled val="1"/>
        </dgm:presLayoutVars>
      </dgm:prSet>
      <dgm:spPr>
        <a:prstGeom prst="roundRect">
          <a:avLst/>
        </a:prstGeom>
      </dgm:spPr>
    </dgm:pt>
  </dgm:ptLst>
  <dgm:cxnLst>
    <dgm:cxn modelId="{4725BF03-FED5-4DE4-AEF8-400D5B84FBE3}" srcId="{C627FFBC-192A-469A-BA38-C6129DD31FFD}" destId="{F89C4BDB-1BB7-430F-AA80-3A83D4FF780D}" srcOrd="0" destOrd="0" parTransId="{7FB2F24F-BCC3-44DE-92EA-85A59439150E}" sibTransId="{E01DE515-7F5E-4F45-A1FA-FA74E5EC5E5B}"/>
    <dgm:cxn modelId="{7BC0472D-38EA-4A05-80A8-B86BE182C76D}" type="presOf" srcId="{985C1FC9-81C3-4130-97BE-2CD2D8E5CE64}" destId="{63DC838A-2858-47BF-933C-28B0E87FAD2C}" srcOrd="0" destOrd="0" presId="urn:microsoft.com/office/officeart/2005/8/layout/lProcess3"/>
    <dgm:cxn modelId="{8CC74B61-4AAB-4CAB-9349-7DDBAA40EA03}" type="presOf" srcId="{44334D40-EA81-4AC7-B168-7ACC3B9F9061}" destId="{4BC76CAA-720C-4331-8809-A531D3A16E12}" srcOrd="0" destOrd="0" presId="urn:microsoft.com/office/officeart/2005/8/layout/lProcess3"/>
    <dgm:cxn modelId="{88029241-C60D-42F0-BCA6-E061A7B199F8}" type="presOf" srcId="{8A255E67-F2CB-4D8A-9362-730C4F8D0E7B}" destId="{EBCE48BF-F72B-4979-896A-D4AEF9289A6D}" srcOrd="0" destOrd="0" presId="urn:microsoft.com/office/officeart/2005/8/layout/lProcess3"/>
    <dgm:cxn modelId="{3367CC62-0F57-48C5-9A83-9413EA259B83}" type="presOf" srcId="{C627FFBC-192A-469A-BA38-C6129DD31FFD}" destId="{3348B249-9D51-4051-8BBE-1F583B54385E}" srcOrd="0" destOrd="0" presId="urn:microsoft.com/office/officeart/2005/8/layout/lProcess3"/>
    <dgm:cxn modelId="{1EC6D88A-99BD-48C2-9C74-0795612D2945}" srcId="{44334D40-EA81-4AC7-B168-7ACC3B9F9061}" destId="{C627FFBC-192A-469A-BA38-C6129DD31FFD}" srcOrd="2" destOrd="0" parTransId="{5B6153CE-0750-4CF1-906B-C07B5407953C}" sibTransId="{A4D3D8BF-BA76-4BF2-BF25-FD838399740E}"/>
    <dgm:cxn modelId="{CF9B448B-EA9F-4A00-BC9A-A66370E7D03F}" type="presOf" srcId="{B6D0B2D5-FB61-4027-8180-35FF1075DC68}" destId="{48D9A5AB-BD8B-4BAC-9B64-2E7F7BCF5165}" srcOrd="0" destOrd="0" presId="urn:microsoft.com/office/officeart/2005/8/layout/lProcess3"/>
    <dgm:cxn modelId="{5D35ABA0-8623-41B3-83D5-740C2A4B2027}" srcId="{571C323A-209C-4297-ABF9-C0C7F0A1667A}" destId="{985C1FC9-81C3-4130-97BE-2CD2D8E5CE64}" srcOrd="0" destOrd="0" parTransId="{1D1491BE-459A-42F3-B7D0-F5603A98AE5C}" sibTransId="{ABEB5D66-2923-4198-ADFE-7E16B26460E2}"/>
    <dgm:cxn modelId="{377B9AA4-8A9C-413A-91DA-9565C0D07FD3}" srcId="{44334D40-EA81-4AC7-B168-7ACC3B9F9061}" destId="{0B01E15F-FB6D-44D5-8E42-83A9B5C92D52}" srcOrd="3" destOrd="0" parTransId="{CE510457-6CFD-4D6E-AB0D-87FC54A12E97}" sibTransId="{B24CA741-6DF8-49EE-A901-3A0492527E77}"/>
    <dgm:cxn modelId="{A2F54BA6-7A1E-4D45-AED1-6772AD774F6F}" type="presOf" srcId="{F89C4BDB-1BB7-430F-AA80-3A83D4FF780D}" destId="{CB161AB4-D0C7-415F-BE7B-3963A7705F17}" srcOrd="0" destOrd="0" presId="urn:microsoft.com/office/officeart/2005/8/layout/lProcess3"/>
    <dgm:cxn modelId="{F4908AC1-1D78-473F-821F-8F9C81DAD4F9}" srcId="{44334D40-EA81-4AC7-B168-7ACC3B9F9061}" destId="{B6D0B2D5-FB61-4027-8180-35FF1075DC68}" srcOrd="1" destOrd="0" parTransId="{AD3A5B94-0693-410E-B02D-D175A7593962}" sibTransId="{2B8106D4-DA47-4731-92E1-D32C8ECED8D3}"/>
    <dgm:cxn modelId="{1B170BD4-3C98-457A-95C6-57C5CA2AF83B}" srcId="{44334D40-EA81-4AC7-B168-7ACC3B9F9061}" destId="{571C323A-209C-4297-ABF9-C0C7F0A1667A}" srcOrd="0" destOrd="0" parTransId="{40089022-7AC5-4A40-BDB8-C17B162548CD}" sibTransId="{9151334A-9F24-44C8-8613-235D91E200A3}"/>
    <dgm:cxn modelId="{75340FE2-6FCA-4017-90C4-EE3122DA74B3}" type="presOf" srcId="{0B01E15F-FB6D-44D5-8E42-83A9B5C92D52}" destId="{59C7A3C8-9309-4B1A-B134-0332F25FD18E}" srcOrd="0" destOrd="0" presId="urn:microsoft.com/office/officeart/2005/8/layout/lProcess3"/>
    <dgm:cxn modelId="{85BD32E3-3C11-494B-9FE3-D519B686C0EE}" srcId="{0B01E15F-FB6D-44D5-8E42-83A9B5C92D52}" destId="{354117AC-442E-4934-99AB-DA005E8055A3}" srcOrd="0" destOrd="0" parTransId="{EB1A7966-3E3D-4811-8253-7E25BFEFB521}" sibTransId="{B0E29E31-A93A-4E39-84FF-741910895F68}"/>
    <dgm:cxn modelId="{106660EB-63B6-40EA-8D59-1F005A9CEC44}" type="presOf" srcId="{354117AC-442E-4934-99AB-DA005E8055A3}" destId="{DA74EC2B-0FD5-42EF-96F3-8FB9576764E5}" srcOrd="0" destOrd="0" presId="urn:microsoft.com/office/officeart/2005/8/layout/lProcess3"/>
    <dgm:cxn modelId="{83B9C2F0-DFE3-4D27-8A13-67E2CCD61CF1}" srcId="{B6D0B2D5-FB61-4027-8180-35FF1075DC68}" destId="{8A255E67-F2CB-4D8A-9362-730C4F8D0E7B}" srcOrd="0" destOrd="0" parTransId="{D2ADCF39-68EE-466D-BA07-0806B5D9A9B4}" sibTransId="{5FC94D84-89BF-421A-AB73-0552D8AAD489}"/>
    <dgm:cxn modelId="{8C425BFA-89AC-46F6-ADF1-6ED49DF553F2}" type="presOf" srcId="{571C323A-209C-4297-ABF9-C0C7F0A1667A}" destId="{643FEBA7-9ED5-4628-91D8-AFD26EA1D25E}" srcOrd="0" destOrd="0" presId="urn:microsoft.com/office/officeart/2005/8/layout/lProcess3"/>
    <dgm:cxn modelId="{C84AC9AC-B5B2-4CE9-9409-2A24ACB6BDCD}" type="presParOf" srcId="{4BC76CAA-720C-4331-8809-A531D3A16E12}" destId="{57065209-F050-4B1F-9032-98BF45799088}" srcOrd="0" destOrd="0" presId="urn:microsoft.com/office/officeart/2005/8/layout/lProcess3"/>
    <dgm:cxn modelId="{69A51D2E-73EB-4BC2-888C-2BF47DAFE177}" type="presParOf" srcId="{57065209-F050-4B1F-9032-98BF45799088}" destId="{643FEBA7-9ED5-4628-91D8-AFD26EA1D25E}" srcOrd="0" destOrd="0" presId="urn:microsoft.com/office/officeart/2005/8/layout/lProcess3"/>
    <dgm:cxn modelId="{DF754BB5-0ABC-4908-918D-A51194C909F4}" type="presParOf" srcId="{57065209-F050-4B1F-9032-98BF45799088}" destId="{C5C106D9-194B-4C2E-A885-64CDEE92D034}" srcOrd="1" destOrd="0" presId="urn:microsoft.com/office/officeart/2005/8/layout/lProcess3"/>
    <dgm:cxn modelId="{9EC0CF90-6EF3-40B6-B9FE-64081B50172C}" type="presParOf" srcId="{57065209-F050-4B1F-9032-98BF45799088}" destId="{63DC838A-2858-47BF-933C-28B0E87FAD2C}" srcOrd="2" destOrd="0" presId="urn:microsoft.com/office/officeart/2005/8/layout/lProcess3"/>
    <dgm:cxn modelId="{41AA8F79-9B4C-4420-9B8A-653032941BB6}" type="presParOf" srcId="{4BC76CAA-720C-4331-8809-A531D3A16E12}" destId="{0F631CA6-0730-442F-B986-4C63139BECCB}" srcOrd="1" destOrd="0" presId="urn:microsoft.com/office/officeart/2005/8/layout/lProcess3"/>
    <dgm:cxn modelId="{63E73635-E518-4B57-852A-0CA6D5DB3B19}" type="presParOf" srcId="{4BC76CAA-720C-4331-8809-A531D3A16E12}" destId="{C69417E3-EF96-490A-A1E6-82FC367E4EC3}" srcOrd="2" destOrd="0" presId="urn:microsoft.com/office/officeart/2005/8/layout/lProcess3"/>
    <dgm:cxn modelId="{725F1AF6-970A-43B5-8B08-B0170059D78E}" type="presParOf" srcId="{C69417E3-EF96-490A-A1E6-82FC367E4EC3}" destId="{48D9A5AB-BD8B-4BAC-9B64-2E7F7BCF5165}" srcOrd="0" destOrd="0" presId="urn:microsoft.com/office/officeart/2005/8/layout/lProcess3"/>
    <dgm:cxn modelId="{C00664D6-1588-48B8-80A1-FDA863526A6D}" type="presParOf" srcId="{C69417E3-EF96-490A-A1E6-82FC367E4EC3}" destId="{85136C50-9E55-438E-924C-906B1C5F6650}" srcOrd="1" destOrd="0" presId="urn:microsoft.com/office/officeart/2005/8/layout/lProcess3"/>
    <dgm:cxn modelId="{55520D08-3241-47AF-AFFA-8ECFA6C98BEB}" type="presParOf" srcId="{C69417E3-EF96-490A-A1E6-82FC367E4EC3}" destId="{EBCE48BF-F72B-4979-896A-D4AEF9289A6D}" srcOrd="2" destOrd="0" presId="urn:microsoft.com/office/officeart/2005/8/layout/lProcess3"/>
    <dgm:cxn modelId="{AB73DBF0-9835-4A6C-BA4D-5687E1B1AA4D}" type="presParOf" srcId="{4BC76CAA-720C-4331-8809-A531D3A16E12}" destId="{C5083FAE-5F1E-42DD-8816-1F1310CE0695}" srcOrd="3" destOrd="0" presId="urn:microsoft.com/office/officeart/2005/8/layout/lProcess3"/>
    <dgm:cxn modelId="{88720FBB-881D-456C-9D84-08D93F72D343}" type="presParOf" srcId="{4BC76CAA-720C-4331-8809-A531D3A16E12}" destId="{ADDF897B-38EE-48BD-B142-F1946D9A7E3F}" srcOrd="4" destOrd="0" presId="urn:microsoft.com/office/officeart/2005/8/layout/lProcess3"/>
    <dgm:cxn modelId="{9C2071D2-D021-43B1-A748-21807BE71470}" type="presParOf" srcId="{ADDF897B-38EE-48BD-B142-F1946D9A7E3F}" destId="{3348B249-9D51-4051-8BBE-1F583B54385E}" srcOrd="0" destOrd="0" presId="urn:microsoft.com/office/officeart/2005/8/layout/lProcess3"/>
    <dgm:cxn modelId="{DC423300-35E7-49FD-8753-99FD594B0D6B}" type="presParOf" srcId="{ADDF897B-38EE-48BD-B142-F1946D9A7E3F}" destId="{477D7528-81C1-4307-BFE7-3D9A96F3FB5D}" srcOrd="1" destOrd="0" presId="urn:microsoft.com/office/officeart/2005/8/layout/lProcess3"/>
    <dgm:cxn modelId="{6AFA2EDF-EA3A-4166-AD56-C3768B12C0EE}" type="presParOf" srcId="{ADDF897B-38EE-48BD-B142-F1946D9A7E3F}" destId="{CB161AB4-D0C7-415F-BE7B-3963A7705F17}" srcOrd="2" destOrd="0" presId="urn:microsoft.com/office/officeart/2005/8/layout/lProcess3"/>
    <dgm:cxn modelId="{A3B0C207-9D80-40F3-9CD0-509AEC4CE979}" type="presParOf" srcId="{4BC76CAA-720C-4331-8809-A531D3A16E12}" destId="{9BE18991-05F2-483C-9203-BB9FB1D5AA7D}" srcOrd="5" destOrd="0" presId="urn:microsoft.com/office/officeart/2005/8/layout/lProcess3"/>
    <dgm:cxn modelId="{219F99E0-7782-43DA-93AA-8AFCDC91852A}" type="presParOf" srcId="{4BC76CAA-720C-4331-8809-A531D3A16E12}" destId="{B21AC026-094F-42B5-9782-7759D6A3EBC8}" srcOrd="6" destOrd="0" presId="urn:microsoft.com/office/officeart/2005/8/layout/lProcess3"/>
    <dgm:cxn modelId="{C4D7A76E-3AB8-4D5D-920A-8294CDC1CDA0}" type="presParOf" srcId="{B21AC026-094F-42B5-9782-7759D6A3EBC8}" destId="{59C7A3C8-9309-4B1A-B134-0332F25FD18E}" srcOrd="0" destOrd="0" presId="urn:microsoft.com/office/officeart/2005/8/layout/lProcess3"/>
    <dgm:cxn modelId="{1AF164A3-9DA1-4D4F-84B4-96121EEE3168}" type="presParOf" srcId="{B21AC026-094F-42B5-9782-7759D6A3EBC8}" destId="{918F428D-3E9A-421B-A1CA-F5902A76474F}" srcOrd="1" destOrd="0" presId="urn:microsoft.com/office/officeart/2005/8/layout/lProcess3"/>
    <dgm:cxn modelId="{EBF030EC-6531-4083-927F-0D147629CDF6}" type="presParOf" srcId="{B21AC026-094F-42B5-9782-7759D6A3EBC8}" destId="{DA74EC2B-0FD5-42EF-96F3-8FB9576764E5}" srcOrd="2"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AC1289B-10D8-4626-A104-8FA381EFF148}"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GB"/>
        </a:p>
      </dgm:t>
    </dgm:pt>
    <dgm:pt modelId="{434A12BB-3197-470B-9655-90D49E4C5316}">
      <dgm:prSet phldrT="[Text]"/>
      <dgm:spPr/>
      <dgm:t>
        <a:bodyPr/>
        <a:lstStyle/>
        <a:p>
          <a:r>
            <a:rPr lang="el-GR" dirty="0"/>
            <a:t>Ποιοι είναι οι δικαιούχοι του ΓεΣΥ</a:t>
          </a:r>
          <a:endParaRPr lang="en-GB" dirty="0"/>
        </a:p>
      </dgm:t>
    </dgm:pt>
    <dgm:pt modelId="{5DA61FCE-729D-4717-913C-54B09B2FC1B7}" type="parTrans" cxnId="{5DF42BCC-2894-430A-A822-D270A7010E90}">
      <dgm:prSet/>
      <dgm:spPr/>
      <dgm:t>
        <a:bodyPr/>
        <a:lstStyle/>
        <a:p>
          <a:endParaRPr lang="en-GB"/>
        </a:p>
      </dgm:t>
    </dgm:pt>
    <dgm:pt modelId="{E1D56E31-F50C-4EC9-9254-7A48B1A3A43C}" type="sibTrans" cxnId="{5DF42BCC-2894-430A-A822-D270A7010E90}">
      <dgm:prSet/>
      <dgm:spPr/>
      <dgm:t>
        <a:bodyPr/>
        <a:lstStyle/>
        <a:p>
          <a:endParaRPr lang="en-GB"/>
        </a:p>
      </dgm:t>
    </dgm:pt>
    <dgm:pt modelId="{CBBB98EC-A5EA-45F7-B2A9-D3FB3E67244F}">
      <dgm:prSet/>
      <dgm:spPr/>
      <dgm:t>
        <a:bodyPr/>
        <a:lstStyle/>
        <a:p>
          <a:endParaRPr lang="en-GB" sz="2000" dirty="0"/>
        </a:p>
      </dgm:t>
    </dgm:pt>
    <dgm:pt modelId="{603025C1-42E8-4E02-9CEE-1C5AA9B80DC4}" type="parTrans" cxnId="{FA4D1F16-BDD6-4587-BB6C-2BF1C41424AA}">
      <dgm:prSet/>
      <dgm:spPr/>
      <dgm:t>
        <a:bodyPr/>
        <a:lstStyle/>
        <a:p>
          <a:endParaRPr lang="en-GB"/>
        </a:p>
      </dgm:t>
    </dgm:pt>
    <dgm:pt modelId="{768D871C-E12A-4829-B856-CD03972F2671}" type="sibTrans" cxnId="{FA4D1F16-BDD6-4587-BB6C-2BF1C41424AA}">
      <dgm:prSet/>
      <dgm:spPr/>
      <dgm:t>
        <a:bodyPr/>
        <a:lstStyle/>
        <a:p>
          <a:endParaRPr lang="en-GB"/>
        </a:p>
      </dgm:t>
    </dgm:pt>
    <dgm:pt modelId="{7778C6A1-AE64-48FA-8148-0E1F384D5FC7}">
      <dgm:prSet/>
      <dgm:spPr/>
      <dgm:t>
        <a:bodyPr/>
        <a:lstStyle/>
        <a:p>
          <a:endParaRPr lang="en-GB" sz="2000" dirty="0"/>
        </a:p>
      </dgm:t>
    </dgm:pt>
    <dgm:pt modelId="{6A62841B-E4A3-48C2-B146-029A553BCF62}" type="parTrans" cxnId="{288675B1-DDF7-40C4-B324-0189B0BE792D}">
      <dgm:prSet/>
      <dgm:spPr/>
      <dgm:t>
        <a:bodyPr/>
        <a:lstStyle/>
        <a:p>
          <a:endParaRPr lang="en-GB"/>
        </a:p>
      </dgm:t>
    </dgm:pt>
    <dgm:pt modelId="{FE589A99-3CC7-4BBA-A2B2-D2B34DECFF36}" type="sibTrans" cxnId="{288675B1-DDF7-40C4-B324-0189B0BE792D}">
      <dgm:prSet/>
      <dgm:spPr/>
      <dgm:t>
        <a:bodyPr/>
        <a:lstStyle/>
        <a:p>
          <a:endParaRPr lang="en-GB"/>
        </a:p>
      </dgm:t>
    </dgm:pt>
    <dgm:pt modelId="{4145CFFB-6221-4007-AC31-51FFCB7C1683}">
      <dgm:prSet/>
      <dgm:spPr/>
      <dgm:t>
        <a:bodyPr/>
        <a:lstStyle/>
        <a:p>
          <a:endParaRPr lang="en-GB" sz="2000" dirty="0"/>
        </a:p>
      </dgm:t>
    </dgm:pt>
    <dgm:pt modelId="{AAC79C55-2BF7-455D-A47C-40152039E853}" type="parTrans" cxnId="{E315F0D7-E775-43F4-8A0D-644641FB59D5}">
      <dgm:prSet/>
      <dgm:spPr/>
      <dgm:t>
        <a:bodyPr/>
        <a:lstStyle/>
        <a:p>
          <a:endParaRPr lang="en-GB"/>
        </a:p>
      </dgm:t>
    </dgm:pt>
    <dgm:pt modelId="{89661976-2D85-4402-95EB-4E1D0C6461E6}" type="sibTrans" cxnId="{E315F0D7-E775-43F4-8A0D-644641FB59D5}">
      <dgm:prSet/>
      <dgm:spPr/>
      <dgm:t>
        <a:bodyPr/>
        <a:lstStyle/>
        <a:p>
          <a:endParaRPr lang="en-GB"/>
        </a:p>
      </dgm:t>
    </dgm:pt>
    <dgm:pt modelId="{3CD4432E-BD80-427A-8475-09B1D87DCD44}" type="pres">
      <dgm:prSet presAssocID="{5AC1289B-10D8-4626-A104-8FA381EFF148}" presName="linear" presStyleCnt="0">
        <dgm:presLayoutVars>
          <dgm:dir/>
          <dgm:animLvl val="lvl"/>
          <dgm:resizeHandles val="exact"/>
        </dgm:presLayoutVars>
      </dgm:prSet>
      <dgm:spPr/>
    </dgm:pt>
    <dgm:pt modelId="{14E6C975-D571-4E24-8174-78330182F28C}" type="pres">
      <dgm:prSet presAssocID="{434A12BB-3197-470B-9655-90D49E4C5316}" presName="parentLin" presStyleCnt="0"/>
      <dgm:spPr/>
    </dgm:pt>
    <dgm:pt modelId="{AAA163A0-4E7F-4710-B2A1-416098942171}" type="pres">
      <dgm:prSet presAssocID="{434A12BB-3197-470B-9655-90D49E4C5316}" presName="parentLeftMargin" presStyleLbl="node1" presStyleIdx="0" presStyleCnt="1"/>
      <dgm:spPr/>
    </dgm:pt>
    <dgm:pt modelId="{D68C32CE-2D88-4007-9150-F0039EEEAB42}" type="pres">
      <dgm:prSet presAssocID="{434A12BB-3197-470B-9655-90D49E4C5316}" presName="parentText" presStyleLbl="node1" presStyleIdx="0" presStyleCnt="1" custScaleX="120239">
        <dgm:presLayoutVars>
          <dgm:chMax val="0"/>
          <dgm:bulletEnabled val="1"/>
        </dgm:presLayoutVars>
      </dgm:prSet>
      <dgm:spPr/>
    </dgm:pt>
    <dgm:pt modelId="{97F42AD2-59B9-4F7E-A705-659D7744D036}" type="pres">
      <dgm:prSet presAssocID="{434A12BB-3197-470B-9655-90D49E4C5316}" presName="negativeSpace" presStyleCnt="0"/>
      <dgm:spPr/>
    </dgm:pt>
    <dgm:pt modelId="{AAA11A45-F254-4414-89FC-FE56626E3188}" type="pres">
      <dgm:prSet presAssocID="{434A12BB-3197-470B-9655-90D49E4C5316}" presName="childText" presStyleLbl="conFgAcc1" presStyleIdx="0" presStyleCnt="1" custScaleY="205738" custLinFactNeighborX="354" custLinFactNeighborY="69005">
        <dgm:presLayoutVars>
          <dgm:bulletEnabled val="1"/>
        </dgm:presLayoutVars>
      </dgm:prSet>
      <dgm:spPr/>
    </dgm:pt>
  </dgm:ptLst>
  <dgm:cxnLst>
    <dgm:cxn modelId="{FA4D1F16-BDD6-4587-BB6C-2BF1C41424AA}" srcId="{434A12BB-3197-470B-9655-90D49E4C5316}" destId="{CBBB98EC-A5EA-45F7-B2A9-D3FB3E67244F}" srcOrd="0" destOrd="0" parTransId="{603025C1-42E8-4E02-9CEE-1C5AA9B80DC4}" sibTransId="{768D871C-E12A-4829-B856-CD03972F2671}"/>
    <dgm:cxn modelId="{4FF01F36-DCD3-4064-8CC8-DF7A6D5EF5C2}" type="presOf" srcId="{7778C6A1-AE64-48FA-8148-0E1F384D5FC7}" destId="{AAA11A45-F254-4414-89FC-FE56626E3188}" srcOrd="0" destOrd="1" presId="urn:microsoft.com/office/officeart/2005/8/layout/list1"/>
    <dgm:cxn modelId="{DC51604B-F65A-4DA8-BEC3-FC3FD314632B}" type="presOf" srcId="{434A12BB-3197-470B-9655-90D49E4C5316}" destId="{AAA163A0-4E7F-4710-B2A1-416098942171}" srcOrd="0" destOrd="0" presId="urn:microsoft.com/office/officeart/2005/8/layout/list1"/>
    <dgm:cxn modelId="{5BF1ED7A-D5B0-453B-B4EF-E415ADF4C3CF}" type="presOf" srcId="{5AC1289B-10D8-4626-A104-8FA381EFF148}" destId="{3CD4432E-BD80-427A-8475-09B1D87DCD44}" srcOrd="0" destOrd="0" presId="urn:microsoft.com/office/officeart/2005/8/layout/list1"/>
    <dgm:cxn modelId="{078F8F8E-B129-4ECC-B360-B00483A2EF48}" type="presOf" srcId="{4145CFFB-6221-4007-AC31-51FFCB7C1683}" destId="{AAA11A45-F254-4414-89FC-FE56626E3188}" srcOrd="0" destOrd="2" presId="urn:microsoft.com/office/officeart/2005/8/layout/list1"/>
    <dgm:cxn modelId="{5B905AA3-B61C-4C07-A501-88A17B33EFB0}" type="presOf" srcId="{CBBB98EC-A5EA-45F7-B2A9-D3FB3E67244F}" destId="{AAA11A45-F254-4414-89FC-FE56626E3188}" srcOrd="0" destOrd="0" presId="urn:microsoft.com/office/officeart/2005/8/layout/list1"/>
    <dgm:cxn modelId="{288675B1-DDF7-40C4-B324-0189B0BE792D}" srcId="{434A12BB-3197-470B-9655-90D49E4C5316}" destId="{7778C6A1-AE64-48FA-8148-0E1F384D5FC7}" srcOrd="1" destOrd="0" parTransId="{6A62841B-E4A3-48C2-B146-029A553BCF62}" sibTransId="{FE589A99-3CC7-4BBA-A2B2-D2B34DECFF36}"/>
    <dgm:cxn modelId="{5DF42BCC-2894-430A-A822-D270A7010E90}" srcId="{5AC1289B-10D8-4626-A104-8FA381EFF148}" destId="{434A12BB-3197-470B-9655-90D49E4C5316}" srcOrd="0" destOrd="0" parTransId="{5DA61FCE-729D-4717-913C-54B09B2FC1B7}" sibTransId="{E1D56E31-F50C-4EC9-9254-7A48B1A3A43C}"/>
    <dgm:cxn modelId="{E315F0D7-E775-43F4-8A0D-644641FB59D5}" srcId="{434A12BB-3197-470B-9655-90D49E4C5316}" destId="{4145CFFB-6221-4007-AC31-51FFCB7C1683}" srcOrd="2" destOrd="0" parTransId="{AAC79C55-2BF7-455D-A47C-40152039E853}" sibTransId="{89661976-2D85-4402-95EB-4E1D0C6461E6}"/>
    <dgm:cxn modelId="{B34D54D8-171A-489D-8D19-9D456FCCEDBC}" type="presOf" srcId="{434A12BB-3197-470B-9655-90D49E4C5316}" destId="{D68C32CE-2D88-4007-9150-F0039EEEAB42}" srcOrd="1" destOrd="0" presId="urn:microsoft.com/office/officeart/2005/8/layout/list1"/>
    <dgm:cxn modelId="{25B78754-596D-487D-BFB7-F7C2BC989899}" type="presParOf" srcId="{3CD4432E-BD80-427A-8475-09B1D87DCD44}" destId="{14E6C975-D571-4E24-8174-78330182F28C}" srcOrd="0" destOrd="0" presId="urn:microsoft.com/office/officeart/2005/8/layout/list1"/>
    <dgm:cxn modelId="{86F1F02E-7E2F-46FA-9D3D-6BB6C245B332}" type="presParOf" srcId="{14E6C975-D571-4E24-8174-78330182F28C}" destId="{AAA163A0-4E7F-4710-B2A1-416098942171}" srcOrd="0" destOrd="0" presId="urn:microsoft.com/office/officeart/2005/8/layout/list1"/>
    <dgm:cxn modelId="{7DE4F61D-6066-4163-AFC4-F6A07B7C7ACE}" type="presParOf" srcId="{14E6C975-D571-4E24-8174-78330182F28C}" destId="{D68C32CE-2D88-4007-9150-F0039EEEAB42}" srcOrd="1" destOrd="0" presId="urn:microsoft.com/office/officeart/2005/8/layout/list1"/>
    <dgm:cxn modelId="{3E92F298-D8E4-402C-9F2E-1B04BA335321}" type="presParOf" srcId="{3CD4432E-BD80-427A-8475-09B1D87DCD44}" destId="{97F42AD2-59B9-4F7E-A705-659D7744D036}" srcOrd="1" destOrd="0" presId="urn:microsoft.com/office/officeart/2005/8/layout/list1"/>
    <dgm:cxn modelId="{611A3FF2-026E-43CA-875C-B988B27B9DF4}" type="presParOf" srcId="{3CD4432E-BD80-427A-8475-09B1D87DCD44}" destId="{AAA11A45-F254-4414-89FC-FE56626E3188}"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F7CB71C-38C5-4799-AB25-BDACDEE5CB45}" type="doc">
      <dgm:prSet loTypeId="urn:microsoft.com/office/officeart/2005/8/layout/vList2" loCatId="list" qsTypeId="urn:microsoft.com/office/officeart/2005/8/quickstyle/simple1" qsCatId="simple" csTypeId="urn:microsoft.com/office/officeart/2005/8/colors/accent2_1" csCatId="accent2" phldr="1"/>
      <dgm:spPr/>
      <dgm:t>
        <a:bodyPr/>
        <a:lstStyle/>
        <a:p>
          <a:endParaRPr lang="en-GB"/>
        </a:p>
      </dgm:t>
    </dgm:pt>
    <dgm:pt modelId="{CA44CEBC-F59D-4A3B-97F2-FD58245952E0}">
      <dgm:prSet custT="1"/>
      <dgm:spPr/>
      <dgm:t>
        <a:bodyPr/>
        <a:lstStyle/>
        <a:p>
          <a:r>
            <a:rPr lang="el-GR" sz="1900" b="1" u="none" dirty="0"/>
            <a:t>Πολίτες της Κυπριακής Δημοκρατίας</a:t>
          </a:r>
          <a:r>
            <a:rPr lang="en-US" sz="1900" b="1" u="none" dirty="0"/>
            <a:t> </a:t>
          </a:r>
          <a:r>
            <a:rPr lang="el-GR" sz="1900" dirty="0"/>
            <a:t>που έχουν τη συνήθη διαμονή τους στην Κύπρο</a:t>
          </a:r>
          <a:endParaRPr lang="en-GB" sz="1900" dirty="0"/>
        </a:p>
      </dgm:t>
    </dgm:pt>
    <dgm:pt modelId="{3FE29F55-4F4C-495B-A998-C7EAC273983D}" type="parTrans" cxnId="{C28A6A3B-3BC0-4F0C-9598-C4AB4FF35176}">
      <dgm:prSet/>
      <dgm:spPr/>
      <dgm:t>
        <a:bodyPr/>
        <a:lstStyle/>
        <a:p>
          <a:endParaRPr lang="en-GB"/>
        </a:p>
      </dgm:t>
    </dgm:pt>
    <dgm:pt modelId="{3049CEDA-794F-46AE-B4FB-33E17B733F86}" type="sibTrans" cxnId="{C28A6A3B-3BC0-4F0C-9598-C4AB4FF35176}">
      <dgm:prSet/>
      <dgm:spPr/>
      <dgm:t>
        <a:bodyPr/>
        <a:lstStyle/>
        <a:p>
          <a:endParaRPr lang="en-GB"/>
        </a:p>
      </dgm:t>
    </dgm:pt>
    <dgm:pt modelId="{1A007E4D-CDC5-413D-81D1-6FFAED40DFCD}">
      <dgm:prSet custT="1"/>
      <dgm:spPr/>
      <dgm:t>
        <a:bodyPr/>
        <a:lstStyle/>
        <a:p>
          <a:r>
            <a:rPr lang="el-GR" sz="1900" b="1" u="none" dirty="0"/>
            <a:t>Πολίτες της Ευρωπαϊκής Ένωσης</a:t>
          </a:r>
          <a:r>
            <a:rPr lang="en-US" sz="1900" b="1" u="none" dirty="0"/>
            <a:t> </a:t>
          </a:r>
          <a:r>
            <a:rPr lang="el-GR" sz="1900" dirty="0"/>
            <a:t>που έχουν τη συνήθη διαμονή τους στην Κύπρο</a:t>
          </a:r>
          <a:r>
            <a:rPr lang="en-US" sz="1900" dirty="0"/>
            <a:t> </a:t>
          </a:r>
          <a:r>
            <a:rPr lang="el-GR" sz="1900" dirty="0"/>
            <a:t>και εργάζονται ή έχουν αποκτήσει δικαίωμα μόνιμης διαμονής</a:t>
          </a:r>
          <a:endParaRPr lang="en-GB" sz="1900" dirty="0"/>
        </a:p>
      </dgm:t>
    </dgm:pt>
    <dgm:pt modelId="{85955F71-F63A-4D37-B72F-84F0ADDA81D7}" type="parTrans" cxnId="{BDCF8DBA-F650-43A3-A21A-321338ED1D76}">
      <dgm:prSet/>
      <dgm:spPr/>
      <dgm:t>
        <a:bodyPr/>
        <a:lstStyle/>
        <a:p>
          <a:endParaRPr lang="en-GB"/>
        </a:p>
      </dgm:t>
    </dgm:pt>
    <dgm:pt modelId="{3F7FE9E0-695A-4A7D-B50D-06D1C919A621}" type="sibTrans" cxnId="{BDCF8DBA-F650-43A3-A21A-321338ED1D76}">
      <dgm:prSet/>
      <dgm:spPr/>
      <dgm:t>
        <a:bodyPr/>
        <a:lstStyle/>
        <a:p>
          <a:endParaRPr lang="en-GB"/>
        </a:p>
      </dgm:t>
    </dgm:pt>
    <dgm:pt modelId="{65FA822B-B010-42E8-A510-1742815395EB}">
      <dgm:prSet custT="1"/>
      <dgm:spPr/>
      <dgm:t>
        <a:bodyPr/>
        <a:lstStyle/>
        <a:p>
          <a:r>
            <a:rPr lang="el-GR" sz="1900" b="1" u="none" dirty="0"/>
            <a:t>Άλλες κατηγορίες</a:t>
          </a:r>
          <a:endParaRPr lang="en-GB" sz="1900" b="1" u="none" dirty="0"/>
        </a:p>
      </dgm:t>
    </dgm:pt>
    <dgm:pt modelId="{2DA6AD09-C50B-401C-AA27-EBEB428A9158}" type="parTrans" cxnId="{BB31B3B6-4A37-4425-8C57-70B6F7DA18CC}">
      <dgm:prSet/>
      <dgm:spPr/>
      <dgm:t>
        <a:bodyPr/>
        <a:lstStyle/>
        <a:p>
          <a:endParaRPr lang="en-GB"/>
        </a:p>
      </dgm:t>
    </dgm:pt>
    <dgm:pt modelId="{B8069FC9-E5A3-4C07-8AEC-789F40AD2C50}" type="sibTrans" cxnId="{BB31B3B6-4A37-4425-8C57-70B6F7DA18CC}">
      <dgm:prSet/>
      <dgm:spPr/>
      <dgm:t>
        <a:bodyPr/>
        <a:lstStyle/>
        <a:p>
          <a:endParaRPr lang="en-GB"/>
        </a:p>
      </dgm:t>
    </dgm:pt>
    <dgm:pt modelId="{F38F1517-4720-4BFA-AE58-6FDF3F461D4D}">
      <dgm:prSet phldrT="[Text]" custT="1"/>
      <dgm:spPr/>
      <dgm:t>
        <a:bodyPr/>
        <a:lstStyle/>
        <a:p>
          <a:r>
            <a:rPr lang="el-GR" sz="1900" b="1" u="none" dirty="0"/>
            <a:t>Πολίτες τρίτων χωρών</a:t>
          </a:r>
          <a:r>
            <a:rPr lang="en-US" sz="1900" b="1" u="none" dirty="0"/>
            <a:t> </a:t>
          </a:r>
          <a:r>
            <a:rPr lang="el-GR" sz="1900" dirty="0"/>
            <a:t>που έχουν τη συνήθη διαμονή τους στην Κύπρο</a:t>
          </a:r>
          <a:r>
            <a:rPr lang="en-US" sz="1900" dirty="0"/>
            <a:t> </a:t>
          </a:r>
          <a:r>
            <a:rPr lang="el-GR" sz="1900" dirty="0"/>
            <a:t>και πληρούν τις πρόνοιες της εθνικής νομοθεσίας</a:t>
          </a:r>
          <a:endParaRPr lang="en-GB" sz="1900" dirty="0"/>
        </a:p>
      </dgm:t>
    </dgm:pt>
    <dgm:pt modelId="{AE163D03-59F7-45A6-B037-A646206E33C9}" type="parTrans" cxnId="{4652CB66-5594-4F66-9742-33BCD2F09F86}">
      <dgm:prSet/>
      <dgm:spPr/>
      <dgm:t>
        <a:bodyPr/>
        <a:lstStyle/>
        <a:p>
          <a:endParaRPr lang="en-GB"/>
        </a:p>
      </dgm:t>
    </dgm:pt>
    <dgm:pt modelId="{979533AE-0B4C-42D5-9A7D-08B6182A6EBE}" type="sibTrans" cxnId="{4652CB66-5594-4F66-9742-33BCD2F09F86}">
      <dgm:prSet/>
      <dgm:spPr/>
      <dgm:t>
        <a:bodyPr/>
        <a:lstStyle/>
        <a:p>
          <a:endParaRPr lang="en-GB"/>
        </a:p>
      </dgm:t>
    </dgm:pt>
    <dgm:pt modelId="{C10D7913-AC50-4C35-93C1-67A877FA07D0}">
      <dgm:prSet/>
      <dgm:spPr/>
      <dgm:t>
        <a:bodyPr/>
        <a:lstStyle/>
        <a:p>
          <a:endParaRPr lang="en-GB" dirty="0"/>
        </a:p>
      </dgm:t>
    </dgm:pt>
    <dgm:pt modelId="{861652C9-D2FB-4511-9C90-C553443A1F95}" type="parTrans" cxnId="{8107B310-B3DF-4EB3-8763-75CC65B4B834}">
      <dgm:prSet/>
      <dgm:spPr/>
      <dgm:t>
        <a:bodyPr/>
        <a:lstStyle/>
        <a:p>
          <a:endParaRPr lang="en-GB"/>
        </a:p>
      </dgm:t>
    </dgm:pt>
    <dgm:pt modelId="{28F40D39-0D12-4C57-AEA3-C1F62231CDB4}" type="sibTrans" cxnId="{8107B310-B3DF-4EB3-8763-75CC65B4B834}">
      <dgm:prSet/>
      <dgm:spPr/>
      <dgm:t>
        <a:bodyPr/>
        <a:lstStyle/>
        <a:p>
          <a:endParaRPr lang="en-GB"/>
        </a:p>
      </dgm:t>
    </dgm:pt>
    <dgm:pt modelId="{32DD318C-5A35-42BF-B84B-BC9A4058F6CB}">
      <dgm:prSet/>
      <dgm:spPr/>
      <dgm:t>
        <a:bodyPr/>
        <a:lstStyle/>
        <a:p>
          <a:endParaRPr lang="en-GB" dirty="0"/>
        </a:p>
      </dgm:t>
    </dgm:pt>
    <dgm:pt modelId="{E98B45A0-AAA0-4C2C-95D4-ACE4D48EF826}" type="parTrans" cxnId="{D993EEA9-8CD9-4B7E-AC2F-C3ED8E43C316}">
      <dgm:prSet/>
      <dgm:spPr/>
      <dgm:t>
        <a:bodyPr/>
        <a:lstStyle/>
        <a:p>
          <a:endParaRPr lang="en-GB"/>
        </a:p>
      </dgm:t>
    </dgm:pt>
    <dgm:pt modelId="{7487C033-8EF0-4309-B275-AF408B37A60C}" type="sibTrans" cxnId="{D993EEA9-8CD9-4B7E-AC2F-C3ED8E43C316}">
      <dgm:prSet/>
      <dgm:spPr/>
      <dgm:t>
        <a:bodyPr/>
        <a:lstStyle/>
        <a:p>
          <a:endParaRPr lang="en-GB"/>
        </a:p>
      </dgm:t>
    </dgm:pt>
    <dgm:pt modelId="{EB6EB8B5-24A6-4604-B376-D9C9A213BE41}">
      <dgm:prSet custT="1"/>
      <dgm:spPr/>
      <dgm:t>
        <a:bodyPr/>
        <a:lstStyle/>
        <a:p>
          <a:endParaRPr lang="en-GB" sz="1500" dirty="0"/>
        </a:p>
      </dgm:t>
    </dgm:pt>
    <dgm:pt modelId="{B6AF0F9C-E335-43D9-ABE4-788ED0116767}" type="parTrans" cxnId="{AC7EF873-692A-46C9-9EE2-D5E4999CFC8F}">
      <dgm:prSet/>
      <dgm:spPr/>
      <dgm:t>
        <a:bodyPr/>
        <a:lstStyle/>
        <a:p>
          <a:endParaRPr lang="en-GB"/>
        </a:p>
      </dgm:t>
    </dgm:pt>
    <dgm:pt modelId="{4ED7282D-A338-41E4-8C07-202C11A3584D}" type="sibTrans" cxnId="{AC7EF873-692A-46C9-9EE2-D5E4999CFC8F}">
      <dgm:prSet/>
      <dgm:spPr/>
      <dgm:t>
        <a:bodyPr/>
        <a:lstStyle/>
        <a:p>
          <a:endParaRPr lang="en-GB"/>
        </a:p>
      </dgm:t>
    </dgm:pt>
    <dgm:pt modelId="{A790F6C7-D79B-43B3-B114-5E25FDDB1817}" type="pres">
      <dgm:prSet presAssocID="{DF7CB71C-38C5-4799-AB25-BDACDEE5CB45}" presName="linear" presStyleCnt="0">
        <dgm:presLayoutVars>
          <dgm:animLvl val="lvl"/>
          <dgm:resizeHandles val="exact"/>
        </dgm:presLayoutVars>
      </dgm:prSet>
      <dgm:spPr/>
    </dgm:pt>
    <dgm:pt modelId="{49762692-F043-4E57-AA40-A474689F14B3}" type="pres">
      <dgm:prSet presAssocID="{CA44CEBC-F59D-4A3B-97F2-FD58245952E0}" presName="parentText" presStyleLbl="node1" presStyleIdx="0" presStyleCnt="4">
        <dgm:presLayoutVars>
          <dgm:chMax val="0"/>
          <dgm:bulletEnabled val="1"/>
        </dgm:presLayoutVars>
      </dgm:prSet>
      <dgm:spPr/>
    </dgm:pt>
    <dgm:pt modelId="{2BEE9767-FD8E-4A23-9018-F330B56CA4D2}" type="pres">
      <dgm:prSet presAssocID="{CA44CEBC-F59D-4A3B-97F2-FD58245952E0}" presName="childText" presStyleLbl="revTx" presStyleIdx="0" presStyleCnt="3">
        <dgm:presLayoutVars>
          <dgm:bulletEnabled val="1"/>
        </dgm:presLayoutVars>
      </dgm:prSet>
      <dgm:spPr/>
    </dgm:pt>
    <dgm:pt modelId="{CAFA5743-095B-4A86-8582-0B74D6B95C6F}" type="pres">
      <dgm:prSet presAssocID="{1A007E4D-CDC5-413D-81D1-6FFAED40DFCD}" presName="parentText" presStyleLbl="node1" presStyleIdx="1" presStyleCnt="4">
        <dgm:presLayoutVars>
          <dgm:chMax val="0"/>
          <dgm:bulletEnabled val="1"/>
        </dgm:presLayoutVars>
      </dgm:prSet>
      <dgm:spPr/>
    </dgm:pt>
    <dgm:pt modelId="{291E2CC0-DC3F-4AD1-94BE-C01BF0C13EAD}" type="pres">
      <dgm:prSet presAssocID="{1A007E4D-CDC5-413D-81D1-6FFAED40DFCD}" presName="childText" presStyleLbl="revTx" presStyleIdx="1" presStyleCnt="3">
        <dgm:presLayoutVars>
          <dgm:bulletEnabled val="1"/>
        </dgm:presLayoutVars>
      </dgm:prSet>
      <dgm:spPr/>
    </dgm:pt>
    <dgm:pt modelId="{C6D73C0B-DAB8-444C-9E2D-2D353AD25F54}" type="pres">
      <dgm:prSet presAssocID="{F38F1517-4720-4BFA-AE58-6FDF3F461D4D}" presName="parentText" presStyleLbl="node1" presStyleIdx="2" presStyleCnt="4">
        <dgm:presLayoutVars>
          <dgm:chMax val="0"/>
          <dgm:bulletEnabled val="1"/>
        </dgm:presLayoutVars>
      </dgm:prSet>
      <dgm:spPr/>
    </dgm:pt>
    <dgm:pt modelId="{C92B1B29-21F9-4EAF-BFD8-5E205BFB9BC3}" type="pres">
      <dgm:prSet presAssocID="{F38F1517-4720-4BFA-AE58-6FDF3F461D4D}" presName="childText" presStyleLbl="revTx" presStyleIdx="2" presStyleCnt="3">
        <dgm:presLayoutVars>
          <dgm:bulletEnabled val="1"/>
        </dgm:presLayoutVars>
      </dgm:prSet>
      <dgm:spPr/>
    </dgm:pt>
    <dgm:pt modelId="{7466BD43-C700-43D4-8FC4-EF0936E1E092}" type="pres">
      <dgm:prSet presAssocID="{65FA822B-B010-42E8-A510-1742815395EB}" presName="parentText" presStyleLbl="node1" presStyleIdx="3" presStyleCnt="4">
        <dgm:presLayoutVars>
          <dgm:chMax val="0"/>
          <dgm:bulletEnabled val="1"/>
        </dgm:presLayoutVars>
      </dgm:prSet>
      <dgm:spPr/>
    </dgm:pt>
  </dgm:ptLst>
  <dgm:cxnLst>
    <dgm:cxn modelId="{8107B310-B3DF-4EB3-8763-75CC65B4B834}" srcId="{CA44CEBC-F59D-4A3B-97F2-FD58245952E0}" destId="{C10D7913-AC50-4C35-93C1-67A877FA07D0}" srcOrd="0" destOrd="0" parTransId="{861652C9-D2FB-4511-9C90-C553443A1F95}" sibTransId="{28F40D39-0D12-4C57-AEA3-C1F62231CDB4}"/>
    <dgm:cxn modelId="{B551EE1C-3647-4709-8BC5-4EF5B26A34CF}" type="presOf" srcId="{DF7CB71C-38C5-4799-AB25-BDACDEE5CB45}" destId="{A790F6C7-D79B-43B3-B114-5E25FDDB1817}" srcOrd="0" destOrd="0" presId="urn:microsoft.com/office/officeart/2005/8/layout/vList2"/>
    <dgm:cxn modelId="{73E1DC2F-E4D8-4A9C-BCC5-D37BC3B67CCF}" type="presOf" srcId="{F38F1517-4720-4BFA-AE58-6FDF3F461D4D}" destId="{C6D73C0B-DAB8-444C-9E2D-2D353AD25F54}" srcOrd="0" destOrd="0" presId="urn:microsoft.com/office/officeart/2005/8/layout/vList2"/>
    <dgm:cxn modelId="{C28A6A3B-3BC0-4F0C-9598-C4AB4FF35176}" srcId="{DF7CB71C-38C5-4799-AB25-BDACDEE5CB45}" destId="{CA44CEBC-F59D-4A3B-97F2-FD58245952E0}" srcOrd="0" destOrd="0" parTransId="{3FE29F55-4F4C-495B-A998-C7EAC273983D}" sibTransId="{3049CEDA-794F-46AE-B4FB-33E17B733F86}"/>
    <dgm:cxn modelId="{CFC2F23D-9B67-4A1F-A75F-C3001E7DE1EF}" type="presOf" srcId="{32DD318C-5A35-42BF-B84B-BC9A4058F6CB}" destId="{291E2CC0-DC3F-4AD1-94BE-C01BF0C13EAD}" srcOrd="0" destOrd="0" presId="urn:microsoft.com/office/officeart/2005/8/layout/vList2"/>
    <dgm:cxn modelId="{4652CB66-5594-4F66-9742-33BCD2F09F86}" srcId="{DF7CB71C-38C5-4799-AB25-BDACDEE5CB45}" destId="{F38F1517-4720-4BFA-AE58-6FDF3F461D4D}" srcOrd="2" destOrd="0" parTransId="{AE163D03-59F7-45A6-B037-A646206E33C9}" sibTransId="{979533AE-0B4C-42D5-9A7D-08B6182A6EBE}"/>
    <dgm:cxn modelId="{C476DD4E-0DE5-4356-9761-2F24B899C542}" type="presOf" srcId="{C10D7913-AC50-4C35-93C1-67A877FA07D0}" destId="{2BEE9767-FD8E-4A23-9018-F330B56CA4D2}" srcOrd="0" destOrd="0" presId="urn:microsoft.com/office/officeart/2005/8/layout/vList2"/>
    <dgm:cxn modelId="{B0750E6F-479C-4734-859D-7037EB6A6EF1}" type="presOf" srcId="{CA44CEBC-F59D-4A3B-97F2-FD58245952E0}" destId="{49762692-F043-4E57-AA40-A474689F14B3}" srcOrd="0" destOrd="0" presId="urn:microsoft.com/office/officeart/2005/8/layout/vList2"/>
    <dgm:cxn modelId="{AC7EF873-692A-46C9-9EE2-D5E4999CFC8F}" srcId="{F38F1517-4720-4BFA-AE58-6FDF3F461D4D}" destId="{EB6EB8B5-24A6-4604-B376-D9C9A213BE41}" srcOrd="0" destOrd="0" parTransId="{B6AF0F9C-E335-43D9-ABE4-788ED0116767}" sibTransId="{4ED7282D-A338-41E4-8C07-202C11A3584D}"/>
    <dgm:cxn modelId="{C703987D-42AC-4193-85A3-12BEF335C29D}" type="presOf" srcId="{65FA822B-B010-42E8-A510-1742815395EB}" destId="{7466BD43-C700-43D4-8FC4-EF0936E1E092}" srcOrd="0" destOrd="0" presId="urn:microsoft.com/office/officeart/2005/8/layout/vList2"/>
    <dgm:cxn modelId="{1C6217A3-08E4-49C0-856F-31391E9BDB19}" type="presOf" srcId="{EB6EB8B5-24A6-4604-B376-D9C9A213BE41}" destId="{C92B1B29-21F9-4EAF-BFD8-5E205BFB9BC3}" srcOrd="0" destOrd="0" presId="urn:microsoft.com/office/officeart/2005/8/layout/vList2"/>
    <dgm:cxn modelId="{D993EEA9-8CD9-4B7E-AC2F-C3ED8E43C316}" srcId="{1A007E4D-CDC5-413D-81D1-6FFAED40DFCD}" destId="{32DD318C-5A35-42BF-B84B-BC9A4058F6CB}" srcOrd="0" destOrd="0" parTransId="{E98B45A0-AAA0-4C2C-95D4-ACE4D48EF826}" sibTransId="{7487C033-8EF0-4309-B275-AF408B37A60C}"/>
    <dgm:cxn modelId="{BB31B3B6-4A37-4425-8C57-70B6F7DA18CC}" srcId="{DF7CB71C-38C5-4799-AB25-BDACDEE5CB45}" destId="{65FA822B-B010-42E8-A510-1742815395EB}" srcOrd="3" destOrd="0" parTransId="{2DA6AD09-C50B-401C-AA27-EBEB428A9158}" sibTransId="{B8069FC9-E5A3-4C07-8AEC-789F40AD2C50}"/>
    <dgm:cxn modelId="{BDCF8DBA-F650-43A3-A21A-321338ED1D76}" srcId="{DF7CB71C-38C5-4799-AB25-BDACDEE5CB45}" destId="{1A007E4D-CDC5-413D-81D1-6FFAED40DFCD}" srcOrd="1" destOrd="0" parTransId="{85955F71-F63A-4D37-B72F-84F0ADDA81D7}" sibTransId="{3F7FE9E0-695A-4A7D-B50D-06D1C919A621}"/>
    <dgm:cxn modelId="{18F1FCC1-7021-4DB3-9D45-C6A0E6323FCF}" type="presOf" srcId="{1A007E4D-CDC5-413D-81D1-6FFAED40DFCD}" destId="{CAFA5743-095B-4A86-8582-0B74D6B95C6F}" srcOrd="0" destOrd="0" presId="urn:microsoft.com/office/officeart/2005/8/layout/vList2"/>
    <dgm:cxn modelId="{69025835-DFD8-4F4C-B577-6A035FBC41EB}" type="presParOf" srcId="{A790F6C7-D79B-43B3-B114-5E25FDDB1817}" destId="{49762692-F043-4E57-AA40-A474689F14B3}" srcOrd="0" destOrd="0" presId="urn:microsoft.com/office/officeart/2005/8/layout/vList2"/>
    <dgm:cxn modelId="{DCB8CB92-66BB-4E8B-BA72-0D38BA7AD4B6}" type="presParOf" srcId="{A790F6C7-D79B-43B3-B114-5E25FDDB1817}" destId="{2BEE9767-FD8E-4A23-9018-F330B56CA4D2}" srcOrd="1" destOrd="0" presId="urn:microsoft.com/office/officeart/2005/8/layout/vList2"/>
    <dgm:cxn modelId="{25E8D719-1A24-4D7D-9B01-254FCED0D1D6}" type="presParOf" srcId="{A790F6C7-D79B-43B3-B114-5E25FDDB1817}" destId="{CAFA5743-095B-4A86-8582-0B74D6B95C6F}" srcOrd="2" destOrd="0" presId="urn:microsoft.com/office/officeart/2005/8/layout/vList2"/>
    <dgm:cxn modelId="{DC43386A-2A50-4657-AE10-12EA6018E013}" type="presParOf" srcId="{A790F6C7-D79B-43B3-B114-5E25FDDB1817}" destId="{291E2CC0-DC3F-4AD1-94BE-C01BF0C13EAD}" srcOrd="3" destOrd="0" presId="urn:microsoft.com/office/officeart/2005/8/layout/vList2"/>
    <dgm:cxn modelId="{7ED03E0B-B16C-4B08-8F17-5CD5EA74E6B4}" type="presParOf" srcId="{A790F6C7-D79B-43B3-B114-5E25FDDB1817}" destId="{C6D73C0B-DAB8-444C-9E2D-2D353AD25F54}" srcOrd="4" destOrd="0" presId="urn:microsoft.com/office/officeart/2005/8/layout/vList2"/>
    <dgm:cxn modelId="{038B8B3D-DD87-4669-8E93-45546BBC279D}" type="presParOf" srcId="{A790F6C7-D79B-43B3-B114-5E25FDDB1817}" destId="{C92B1B29-21F9-4EAF-BFD8-5E205BFB9BC3}" srcOrd="5" destOrd="0" presId="urn:microsoft.com/office/officeart/2005/8/layout/vList2"/>
    <dgm:cxn modelId="{20E8D652-4F7F-4BA0-9A61-5B6441C748EC}" type="presParOf" srcId="{A790F6C7-D79B-43B3-B114-5E25FDDB1817}" destId="{7466BD43-C700-43D4-8FC4-EF0936E1E092}"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0A3B86F-1B89-49E2-A03A-732D79C6FA2C}"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en-GB"/>
        </a:p>
      </dgm:t>
    </dgm:pt>
    <dgm:pt modelId="{B852C51C-FF58-4759-B9B4-B19E49C1B586}">
      <dgm:prSet phldrT="[Text]"/>
      <dgm:spPr/>
      <dgm:t>
        <a:bodyPr/>
        <a:lstStyle/>
        <a:p>
          <a:r>
            <a:rPr lang="el-GR" dirty="0"/>
            <a:t>Ποιοι παρέχουν τις υπηρεσίες υγείας στα πλαίσια του ΓεΣΥ  </a:t>
          </a:r>
          <a:endParaRPr lang="en-GB" dirty="0"/>
        </a:p>
      </dgm:t>
    </dgm:pt>
    <dgm:pt modelId="{D3B39EF6-92E6-4C10-9EF0-F332E9E6D852}" type="parTrans" cxnId="{C1E5E218-1F4D-4D6C-B686-373AA9A70C21}">
      <dgm:prSet/>
      <dgm:spPr/>
      <dgm:t>
        <a:bodyPr/>
        <a:lstStyle/>
        <a:p>
          <a:endParaRPr lang="en-GB"/>
        </a:p>
      </dgm:t>
    </dgm:pt>
    <dgm:pt modelId="{6E1629A5-BB94-4DF2-A620-A48A38A59045}" type="sibTrans" cxnId="{C1E5E218-1F4D-4D6C-B686-373AA9A70C21}">
      <dgm:prSet/>
      <dgm:spPr/>
      <dgm:t>
        <a:bodyPr/>
        <a:lstStyle/>
        <a:p>
          <a:endParaRPr lang="en-GB"/>
        </a:p>
      </dgm:t>
    </dgm:pt>
    <dgm:pt modelId="{ED7F9B3E-FB1C-4D92-837C-883627270DC5}">
      <dgm:prSet phldrT="[Text]"/>
      <dgm:spPr/>
      <dgm:t>
        <a:bodyPr/>
        <a:lstStyle/>
        <a:p>
          <a:pPr rtl="0"/>
          <a:endParaRPr lang="en-GB" dirty="0"/>
        </a:p>
      </dgm:t>
    </dgm:pt>
    <dgm:pt modelId="{5EA480FA-779D-4A4F-8F2B-9E9F6B54F1D6}" type="parTrans" cxnId="{14C501F1-255D-4B0C-9DA5-6D51236A754A}">
      <dgm:prSet/>
      <dgm:spPr/>
      <dgm:t>
        <a:bodyPr/>
        <a:lstStyle/>
        <a:p>
          <a:endParaRPr lang="en-GB"/>
        </a:p>
      </dgm:t>
    </dgm:pt>
    <dgm:pt modelId="{FF32E935-E037-444F-86B2-C50DBCFD02CF}" type="sibTrans" cxnId="{14C501F1-255D-4B0C-9DA5-6D51236A754A}">
      <dgm:prSet/>
      <dgm:spPr/>
      <dgm:t>
        <a:bodyPr/>
        <a:lstStyle/>
        <a:p>
          <a:endParaRPr lang="en-GB"/>
        </a:p>
      </dgm:t>
    </dgm:pt>
    <dgm:pt modelId="{1B378A03-06F2-4FA4-B842-69337BE76D13}">
      <dgm:prSet phldrT="[Text]"/>
      <dgm:spPr/>
      <dgm:t>
        <a:bodyPr/>
        <a:lstStyle/>
        <a:p>
          <a:pPr rtl="0"/>
          <a:endParaRPr lang="en-GB" dirty="0"/>
        </a:p>
      </dgm:t>
    </dgm:pt>
    <dgm:pt modelId="{C285B4F4-8A7B-47EA-8E57-CAD86BB3CA4E}" type="parTrans" cxnId="{8C641475-FF32-4728-9074-929ED05F7C8C}">
      <dgm:prSet/>
      <dgm:spPr/>
      <dgm:t>
        <a:bodyPr/>
        <a:lstStyle/>
        <a:p>
          <a:endParaRPr lang="en-GB"/>
        </a:p>
      </dgm:t>
    </dgm:pt>
    <dgm:pt modelId="{44736D77-91A1-4C02-AA2C-180FB6333FA8}" type="sibTrans" cxnId="{8C641475-FF32-4728-9074-929ED05F7C8C}">
      <dgm:prSet/>
      <dgm:spPr/>
      <dgm:t>
        <a:bodyPr/>
        <a:lstStyle/>
        <a:p>
          <a:endParaRPr lang="en-GB"/>
        </a:p>
      </dgm:t>
    </dgm:pt>
    <dgm:pt modelId="{57562F97-BA54-44A8-A8F4-9659EA646DBE}">
      <dgm:prSet phldrT="[Text]"/>
      <dgm:spPr/>
      <dgm:t>
        <a:bodyPr/>
        <a:lstStyle/>
        <a:p>
          <a:pPr rtl="0"/>
          <a:endParaRPr lang="en-GB" dirty="0"/>
        </a:p>
      </dgm:t>
    </dgm:pt>
    <dgm:pt modelId="{9316C4B8-3D40-4B24-9BC7-A055AB285676}" type="parTrans" cxnId="{C2AE3A6E-7391-45CA-944E-2EDF327A9B24}">
      <dgm:prSet/>
      <dgm:spPr/>
      <dgm:t>
        <a:bodyPr/>
        <a:lstStyle/>
        <a:p>
          <a:endParaRPr lang="en-GB"/>
        </a:p>
      </dgm:t>
    </dgm:pt>
    <dgm:pt modelId="{B22BD5E5-3B9F-4C6F-87D3-684779A4841D}" type="sibTrans" cxnId="{C2AE3A6E-7391-45CA-944E-2EDF327A9B24}">
      <dgm:prSet/>
      <dgm:spPr/>
      <dgm:t>
        <a:bodyPr/>
        <a:lstStyle/>
        <a:p>
          <a:endParaRPr lang="en-GB"/>
        </a:p>
      </dgm:t>
    </dgm:pt>
    <dgm:pt modelId="{697328E9-05E0-48D2-AA97-EC7CB93542E2}">
      <dgm:prSet phldrT="[Text]"/>
      <dgm:spPr/>
      <dgm:t>
        <a:bodyPr/>
        <a:lstStyle/>
        <a:p>
          <a:pPr rtl="0"/>
          <a:endParaRPr lang="en-GB" dirty="0"/>
        </a:p>
      </dgm:t>
    </dgm:pt>
    <dgm:pt modelId="{95BC9437-63CE-4E52-A1E3-75E9C570EC11}" type="parTrans" cxnId="{814BCBAA-DD3E-46B9-B8A5-632A94F256A3}">
      <dgm:prSet/>
      <dgm:spPr/>
      <dgm:t>
        <a:bodyPr/>
        <a:lstStyle/>
        <a:p>
          <a:endParaRPr lang="en-GB"/>
        </a:p>
      </dgm:t>
    </dgm:pt>
    <dgm:pt modelId="{451757CB-D311-4C95-962E-99C059C80FDD}" type="sibTrans" cxnId="{814BCBAA-DD3E-46B9-B8A5-632A94F256A3}">
      <dgm:prSet/>
      <dgm:spPr/>
      <dgm:t>
        <a:bodyPr/>
        <a:lstStyle/>
        <a:p>
          <a:endParaRPr lang="en-GB"/>
        </a:p>
      </dgm:t>
    </dgm:pt>
    <dgm:pt modelId="{AC304481-39A1-45D7-86F3-1AE337B23F7A}">
      <dgm:prSet phldrT="[Text]"/>
      <dgm:spPr/>
      <dgm:t>
        <a:bodyPr/>
        <a:lstStyle/>
        <a:p>
          <a:pPr rtl="0"/>
          <a:endParaRPr lang="en-GB" dirty="0"/>
        </a:p>
      </dgm:t>
    </dgm:pt>
    <dgm:pt modelId="{64DE7799-3ADD-4A92-9D21-D525F4F4BF55}" type="parTrans" cxnId="{641C411C-F4EB-4C66-88C4-FD8BBCD46732}">
      <dgm:prSet/>
      <dgm:spPr/>
      <dgm:t>
        <a:bodyPr/>
        <a:lstStyle/>
        <a:p>
          <a:endParaRPr lang="en-GB"/>
        </a:p>
      </dgm:t>
    </dgm:pt>
    <dgm:pt modelId="{809CBA8B-6435-4A7D-AC49-B1BDD4AC3478}" type="sibTrans" cxnId="{641C411C-F4EB-4C66-88C4-FD8BBCD46732}">
      <dgm:prSet/>
      <dgm:spPr/>
      <dgm:t>
        <a:bodyPr/>
        <a:lstStyle/>
        <a:p>
          <a:endParaRPr lang="en-GB"/>
        </a:p>
      </dgm:t>
    </dgm:pt>
    <dgm:pt modelId="{7726E7C7-FB22-4733-B7F9-5DE431215C69}">
      <dgm:prSet phldrT="[Text]"/>
      <dgm:spPr/>
      <dgm:t>
        <a:bodyPr/>
        <a:lstStyle/>
        <a:p>
          <a:pPr rtl="0"/>
          <a:endParaRPr lang="en-GB" dirty="0"/>
        </a:p>
      </dgm:t>
    </dgm:pt>
    <dgm:pt modelId="{746399C6-E926-49AC-9A9A-774476F7E67C}" type="parTrans" cxnId="{719DD947-6E47-41E2-B092-DFADA71F63B0}">
      <dgm:prSet/>
      <dgm:spPr/>
      <dgm:t>
        <a:bodyPr/>
        <a:lstStyle/>
        <a:p>
          <a:endParaRPr lang="en-GB"/>
        </a:p>
      </dgm:t>
    </dgm:pt>
    <dgm:pt modelId="{65A0DD38-FC56-4542-8464-CC3B3BF94F9F}" type="sibTrans" cxnId="{719DD947-6E47-41E2-B092-DFADA71F63B0}">
      <dgm:prSet/>
      <dgm:spPr/>
      <dgm:t>
        <a:bodyPr/>
        <a:lstStyle/>
        <a:p>
          <a:endParaRPr lang="en-GB"/>
        </a:p>
      </dgm:t>
    </dgm:pt>
    <dgm:pt modelId="{46365CB2-2C8C-4EE0-A181-484A91F07A85}">
      <dgm:prSet phldrT="[Text]"/>
      <dgm:spPr/>
      <dgm:t>
        <a:bodyPr/>
        <a:lstStyle/>
        <a:p>
          <a:pPr rtl="0"/>
          <a:endParaRPr lang="en-GB" dirty="0"/>
        </a:p>
      </dgm:t>
    </dgm:pt>
    <dgm:pt modelId="{25DC7DE3-B55E-4808-99CB-761C2514FEFD}" type="parTrans" cxnId="{444D7ECC-F53B-4BCB-9E65-CFB0DA951F91}">
      <dgm:prSet/>
      <dgm:spPr/>
      <dgm:t>
        <a:bodyPr/>
        <a:lstStyle/>
        <a:p>
          <a:endParaRPr lang="en-GB"/>
        </a:p>
      </dgm:t>
    </dgm:pt>
    <dgm:pt modelId="{B3707FD2-781D-4707-9A1C-C63E4195CC68}" type="sibTrans" cxnId="{444D7ECC-F53B-4BCB-9E65-CFB0DA951F91}">
      <dgm:prSet/>
      <dgm:spPr/>
      <dgm:t>
        <a:bodyPr/>
        <a:lstStyle/>
        <a:p>
          <a:endParaRPr lang="en-GB"/>
        </a:p>
      </dgm:t>
    </dgm:pt>
    <dgm:pt modelId="{A7F9DDA1-8C1E-4E4E-B44F-2C36F9BDDC83}">
      <dgm:prSet phldrT="[Text]"/>
      <dgm:spPr/>
      <dgm:t>
        <a:bodyPr/>
        <a:lstStyle/>
        <a:p>
          <a:pPr rtl="0"/>
          <a:endParaRPr lang="en-GB" dirty="0"/>
        </a:p>
      </dgm:t>
    </dgm:pt>
    <dgm:pt modelId="{A7203084-8380-4FB4-A354-5BB4FEA5A765}" type="parTrans" cxnId="{F753D319-5775-4C28-981D-489CDF9D1338}">
      <dgm:prSet/>
      <dgm:spPr/>
      <dgm:t>
        <a:bodyPr/>
        <a:lstStyle/>
        <a:p>
          <a:endParaRPr lang="en-GB"/>
        </a:p>
      </dgm:t>
    </dgm:pt>
    <dgm:pt modelId="{9F439C37-F659-415C-BB3B-DDE35576942A}" type="sibTrans" cxnId="{F753D319-5775-4C28-981D-489CDF9D1338}">
      <dgm:prSet/>
      <dgm:spPr/>
      <dgm:t>
        <a:bodyPr/>
        <a:lstStyle/>
        <a:p>
          <a:endParaRPr lang="en-GB"/>
        </a:p>
      </dgm:t>
    </dgm:pt>
    <dgm:pt modelId="{EEC833C1-2954-4E42-A909-967A6950EECD}">
      <dgm:prSet phldrT="[Text]"/>
      <dgm:spPr/>
      <dgm:t>
        <a:bodyPr/>
        <a:lstStyle/>
        <a:p>
          <a:pPr rtl="0"/>
          <a:endParaRPr lang="en-GB" dirty="0"/>
        </a:p>
      </dgm:t>
    </dgm:pt>
    <dgm:pt modelId="{EA77FA55-12B9-4EC7-8E86-13BA456FCB6E}" type="parTrans" cxnId="{509AFB2D-5922-4C13-8B74-24AADB652E86}">
      <dgm:prSet/>
      <dgm:spPr/>
      <dgm:t>
        <a:bodyPr/>
        <a:lstStyle/>
        <a:p>
          <a:endParaRPr lang="en-GB"/>
        </a:p>
      </dgm:t>
    </dgm:pt>
    <dgm:pt modelId="{D3998612-CD22-4472-A393-5B7F808D860B}" type="sibTrans" cxnId="{509AFB2D-5922-4C13-8B74-24AADB652E86}">
      <dgm:prSet/>
      <dgm:spPr/>
      <dgm:t>
        <a:bodyPr/>
        <a:lstStyle/>
        <a:p>
          <a:endParaRPr lang="en-GB"/>
        </a:p>
      </dgm:t>
    </dgm:pt>
    <dgm:pt modelId="{FE895929-526E-48A2-B0C9-921A114D2B79}" type="pres">
      <dgm:prSet presAssocID="{90A3B86F-1B89-49E2-A03A-732D79C6FA2C}" presName="linear" presStyleCnt="0">
        <dgm:presLayoutVars>
          <dgm:dir/>
          <dgm:animLvl val="lvl"/>
          <dgm:resizeHandles val="exact"/>
        </dgm:presLayoutVars>
      </dgm:prSet>
      <dgm:spPr/>
    </dgm:pt>
    <dgm:pt modelId="{18FDF286-5C04-4AB2-A61D-57D074DB730B}" type="pres">
      <dgm:prSet presAssocID="{B852C51C-FF58-4759-B9B4-B19E49C1B586}" presName="parentLin" presStyleCnt="0"/>
      <dgm:spPr/>
    </dgm:pt>
    <dgm:pt modelId="{BB2631D8-A884-455F-994E-75F4EAA355BE}" type="pres">
      <dgm:prSet presAssocID="{B852C51C-FF58-4759-B9B4-B19E49C1B586}" presName="parentLeftMargin" presStyleLbl="node1" presStyleIdx="0" presStyleCnt="1"/>
      <dgm:spPr/>
    </dgm:pt>
    <dgm:pt modelId="{BF8B7000-A51B-4F51-A772-501A4DB964BB}" type="pres">
      <dgm:prSet presAssocID="{B852C51C-FF58-4759-B9B4-B19E49C1B586}" presName="parentText" presStyleLbl="node1" presStyleIdx="0" presStyleCnt="1">
        <dgm:presLayoutVars>
          <dgm:chMax val="0"/>
          <dgm:bulletEnabled val="1"/>
        </dgm:presLayoutVars>
      </dgm:prSet>
      <dgm:spPr/>
    </dgm:pt>
    <dgm:pt modelId="{476089C3-D3D7-44ED-A694-9521C95FD0E0}" type="pres">
      <dgm:prSet presAssocID="{B852C51C-FF58-4759-B9B4-B19E49C1B586}" presName="negativeSpace" presStyleCnt="0"/>
      <dgm:spPr/>
    </dgm:pt>
    <dgm:pt modelId="{E2FBD992-35E0-4F6B-881F-0407213D2633}" type="pres">
      <dgm:prSet presAssocID="{B852C51C-FF58-4759-B9B4-B19E49C1B586}" presName="childText" presStyleLbl="conFgAcc1" presStyleIdx="0" presStyleCnt="1" custScaleY="106881">
        <dgm:presLayoutVars>
          <dgm:bulletEnabled val="1"/>
        </dgm:presLayoutVars>
      </dgm:prSet>
      <dgm:spPr/>
    </dgm:pt>
  </dgm:ptLst>
  <dgm:cxnLst>
    <dgm:cxn modelId="{ECC7780A-053E-4EF6-BFAC-8381FFE3C276}" type="presOf" srcId="{57562F97-BA54-44A8-A8F4-9659EA646DBE}" destId="{E2FBD992-35E0-4F6B-881F-0407213D2633}" srcOrd="0" destOrd="1" presId="urn:microsoft.com/office/officeart/2005/8/layout/list1"/>
    <dgm:cxn modelId="{05C4DF11-ABE6-415A-9D89-AF966B806970}" type="presOf" srcId="{90A3B86F-1B89-49E2-A03A-732D79C6FA2C}" destId="{FE895929-526E-48A2-B0C9-921A114D2B79}" srcOrd="0" destOrd="0" presId="urn:microsoft.com/office/officeart/2005/8/layout/list1"/>
    <dgm:cxn modelId="{E927A018-A834-43C7-A54B-5B49B0AF4C81}" type="presOf" srcId="{7726E7C7-FB22-4733-B7F9-5DE431215C69}" destId="{E2FBD992-35E0-4F6B-881F-0407213D2633}" srcOrd="0" destOrd="4" presId="urn:microsoft.com/office/officeart/2005/8/layout/list1"/>
    <dgm:cxn modelId="{C1E5E218-1F4D-4D6C-B686-373AA9A70C21}" srcId="{90A3B86F-1B89-49E2-A03A-732D79C6FA2C}" destId="{B852C51C-FF58-4759-B9B4-B19E49C1B586}" srcOrd="0" destOrd="0" parTransId="{D3B39EF6-92E6-4C10-9EF0-F332E9E6D852}" sibTransId="{6E1629A5-BB94-4DF2-A620-A48A38A59045}"/>
    <dgm:cxn modelId="{F753D319-5775-4C28-981D-489CDF9D1338}" srcId="{B852C51C-FF58-4759-B9B4-B19E49C1B586}" destId="{A7F9DDA1-8C1E-4E4E-B44F-2C36F9BDDC83}" srcOrd="6" destOrd="0" parTransId="{A7203084-8380-4FB4-A354-5BB4FEA5A765}" sibTransId="{9F439C37-F659-415C-BB3B-DDE35576942A}"/>
    <dgm:cxn modelId="{641C411C-F4EB-4C66-88C4-FD8BBCD46732}" srcId="{B852C51C-FF58-4759-B9B4-B19E49C1B586}" destId="{AC304481-39A1-45D7-86F3-1AE337B23F7A}" srcOrd="3" destOrd="0" parTransId="{64DE7799-3ADD-4A92-9D21-D525F4F4BF55}" sibTransId="{809CBA8B-6435-4A7D-AC49-B1BDD4AC3478}"/>
    <dgm:cxn modelId="{F2401E2C-F996-47FF-AB88-1AD199C745C6}" type="presOf" srcId="{A7F9DDA1-8C1E-4E4E-B44F-2C36F9BDDC83}" destId="{E2FBD992-35E0-4F6B-881F-0407213D2633}" srcOrd="0" destOrd="6" presId="urn:microsoft.com/office/officeart/2005/8/layout/list1"/>
    <dgm:cxn modelId="{509AFB2D-5922-4C13-8B74-24AADB652E86}" srcId="{B852C51C-FF58-4759-B9B4-B19E49C1B586}" destId="{EEC833C1-2954-4E42-A909-967A6950EECD}" srcOrd="7" destOrd="0" parTransId="{EA77FA55-12B9-4EC7-8E86-13BA456FCB6E}" sibTransId="{D3998612-CD22-4472-A393-5B7F808D860B}"/>
    <dgm:cxn modelId="{A87A9333-4E40-420D-8E18-22BCC2B0EC8F}" type="presOf" srcId="{46365CB2-2C8C-4EE0-A181-484A91F07A85}" destId="{E2FBD992-35E0-4F6B-881F-0407213D2633}" srcOrd="0" destOrd="5" presId="urn:microsoft.com/office/officeart/2005/8/layout/list1"/>
    <dgm:cxn modelId="{4D28473E-B9AA-4781-BBE3-0AB12F974C3E}" type="presOf" srcId="{EEC833C1-2954-4E42-A909-967A6950EECD}" destId="{E2FBD992-35E0-4F6B-881F-0407213D2633}" srcOrd="0" destOrd="7" presId="urn:microsoft.com/office/officeart/2005/8/layout/list1"/>
    <dgm:cxn modelId="{719DD947-6E47-41E2-B092-DFADA71F63B0}" srcId="{B852C51C-FF58-4759-B9B4-B19E49C1B586}" destId="{7726E7C7-FB22-4733-B7F9-5DE431215C69}" srcOrd="4" destOrd="0" parTransId="{746399C6-E926-49AC-9A9A-774476F7E67C}" sibTransId="{65A0DD38-FC56-4542-8464-CC3B3BF94F9F}"/>
    <dgm:cxn modelId="{084C1D4A-EAE8-477B-9CA8-E3EE66E91C89}" type="presOf" srcId="{697328E9-05E0-48D2-AA97-EC7CB93542E2}" destId="{E2FBD992-35E0-4F6B-881F-0407213D2633}" srcOrd="0" destOrd="2" presId="urn:microsoft.com/office/officeart/2005/8/layout/list1"/>
    <dgm:cxn modelId="{C2AE3A6E-7391-45CA-944E-2EDF327A9B24}" srcId="{B852C51C-FF58-4759-B9B4-B19E49C1B586}" destId="{57562F97-BA54-44A8-A8F4-9659EA646DBE}" srcOrd="1" destOrd="0" parTransId="{9316C4B8-3D40-4B24-9BC7-A055AB285676}" sibTransId="{B22BD5E5-3B9F-4C6F-87D3-684779A4841D}"/>
    <dgm:cxn modelId="{8C641475-FF32-4728-9074-929ED05F7C8C}" srcId="{B852C51C-FF58-4759-B9B4-B19E49C1B586}" destId="{1B378A03-06F2-4FA4-B842-69337BE76D13}" srcOrd="8" destOrd="0" parTransId="{C285B4F4-8A7B-47EA-8E57-CAD86BB3CA4E}" sibTransId="{44736D77-91A1-4C02-AA2C-180FB6333FA8}"/>
    <dgm:cxn modelId="{992D698D-B31B-4DFB-B324-9CB52F1520F0}" type="presOf" srcId="{B852C51C-FF58-4759-B9B4-B19E49C1B586}" destId="{BB2631D8-A884-455F-994E-75F4EAA355BE}" srcOrd="0" destOrd="0" presId="urn:microsoft.com/office/officeart/2005/8/layout/list1"/>
    <dgm:cxn modelId="{814BCBAA-DD3E-46B9-B8A5-632A94F256A3}" srcId="{B852C51C-FF58-4759-B9B4-B19E49C1B586}" destId="{697328E9-05E0-48D2-AA97-EC7CB93542E2}" srcOrd="2" destOrd="0" parTransId="{95BC9437-63CE-4E52-A1E3-75E9C570EC11}" sibTransId="{451757CB-D311-4C95-962E-99C059C80FDD}"/>
    <dgm:cxn modelId="{C672EEAD-B8E0-49D5-A8E7-461C29E914AA}" type="presOf" srcId="{ED7F9B3E-FB1C-4D92-837C-883627270DC5}" destId="{E2FBD992-35E0-4F6B-881F-0407213D2633}" srcOrd="0" destOrd="0" presId="urn:microsoft.com/office/officeart/2005/8/layout/list1"/>
    <dgm:cxn modelId="{9FABEAC5-91EE-400E-8CE7-3884B050864F}" type="presOf" srcId="{AC304481-39A1-45D7-86F3-1AE337B23F7A}" destId="{E2FBD992-35E0-4F6B-881F-0407213D2633}" srcOrd="0" destOrd="3" presId="urn:microsoft.com/office/officeart/2005/8/layout/list1"/>
    <dgm:cxn modelId="{444D7ECC-F53B-4BCB-9E65-CFB0DA951F91}" srcId="{B852C51C-FF58-4759-B9B4-B19E49C1B586}" destId="{46365CB2-2C8C-4EE0-A181-484A91F07A85}" srcOrd="5" destOrd="0" parTransId="{25DC7DE3-B55E-4808-99CB-761C2514FEFD}" sibTransId="{B3707FD2-781D-4707-9A1C-C63E4195CC68}"/>
    <dgm:cxn modelId="{F7E166DB-B4AE-4977-971C-8FCCCEB0FC48}" type="presOf" srcId="{B852C51C-FF58-4759-B9B4-B19E49C1B586}" destId="{BF8B7000-A51B-4F51-A772-501A4DB964BB}" srcOrd="1" destOrd="0" presId="urn:microsoft.com/office/officeart/2005/8/layout/list1"/>
    <dgm:cxn modelId="{EDBAB3E4-6604-4930-91E6-22711A00FB99}" type="presOf" srcId="{1B378A03-06F2-4FA4-B842-69337BE76D13}" destId="{E2FBD992-35E0-4F6B-881F-0407213D2633}" srcOrd="0" destOrd="8" presId="urn:microsoft.com/office/officeart/2005/8/layout/list1"/>
    <dgm:cxn modelId="{14C501F1-255D-4B0C-9DA5-6D51236A754A}" srcId="{B852C51C-FF58-4759-B9B4-B19E49C1B586}" destId="{ED7F9B3E-FB1C-4D92-837C-883627270DC5}" srcOrd="0" destOrd="0" parTransId="{5EA480FA-779D-4A4F-8F2B-9E9F6B54F1D6}" sibTransId="{FF32E935-E037-444F-86B2-C50DBCFD02CF}"/>
    <dgm:cxn modelId="{D33EB623-BA93-4B30-A43A-5266DCF5D3FE}" type="presParOf" srcId="{FE895929-526E-48A2-B0C9-921A114D2B79}" destId="{18FDF286-5C04-4AB2-A61D-57D074DB730B}" srcOrd="0" destOrd="0" presId="urn:microsoft.com/office/officeart/2005/8/layout/list1"/>
    <dgm:cxn modelId="{684EE79F-DCFE-4129-9A86-B1146394F799}" type="presParOf" srcId="{18FDF286-5C04-4AB2-A61D-57D074DB730B}" destId="{BB2631D8-A884-455F-994E-75F4EAA355BE}" srcOrd="0" destOrd="0" presId="urn:microsoft.com/office/officeart/2005/8/layout/list1"/>
    <dgm:cxn modelId="{F1A03583-3F8A-4DFE-8009-BB5D01949F0C}" type="presParOf" srcId="{18FDF286-5C04-4AB2-A61D-57D074DB730B}" destId="{BF8B7000-A51B-4F51-A772-501A4DB964BB}" srcOrd="1" destOrd="0" presId="urn:microsoft.com/office/officeart/2005/8/layout/list1"/>
    <dgm:cxn modelId="{229F736D-4C18-4AB2-BD17-9B1BFEEFFD0E}" type="presParOf" srcId="{FE895929-526E-48A2-B0C9-921A114D2B79}" destId="{476089C3-D3D7-44ED-A694-9521C95FD0E0}" srcOrd="1" destOrd="0" presId="urn:microsoft.com/office/officeart/2005/8/layout/list1"/>
    <dgm:cxn modelId="{17BE4D82-FA1C-46B3-B945-9ABE00504556}" type="presParOf" srcId="{FE895929-526E-48A2-B0C9-921A114D2B79}" destId="{E2FBD992-35E0-4F6B-881F-0407213D2633}"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294921D-DFA6-4132-BE9D-70CC810C0517}" type="doc">
      <dgm:prSet loTypeId="urn:microsoft.com/office/officeart/2005/8/layout/vList2" loCatId="list" qsTypeId="urn:microsoft.com/office/officeart/2005/8/quickstyle/simple1" qsCatId="simple" csTypeId="urn:microsoft.com/office/officeart/2005/8/colors/accent2_1" csCatId="accent2" phldr="1"/>
      <dgm:spPr/>
      <dgm:t>
        <a:bodyPr/>
        <a:lstStyle/>
        <a:p>
          <a:endParaRPr lang="en-GB"/>
        </a:p>
      </dgm:t>
    </dgm:pt>
    <dgm:pt modelId="{2BB6A1B3-7E82-4980-933B-9CD3E2EDAF48}">
      <dgm:prSet phldrT="[Text]"/>
      <dgm:spPr/>
      <dgm:t>
        <a:bodyPr/>
        <a:lstStyle/>
        <a:p>
          <a:r>
            <a:rPr lang="el-GR" dirty="0"/>
            <a:t>Οι υπηρεσίες υγείας εντός του ΓεΣΥ παρέχονται από όλους τους </a:t>
          </a:r>
          <a:r>
            <a:rPr lang="el-GR" dirty="0" err="1"/>
            <a:t>πάροχους</a:t>
          </a:r>
          <a:r>
            <a:rPr lang="el-GR" dirty="0"/>
            <a:t> υγείας του </a:t>
          </a:r>
          <a:r>
            <a:rPr lang="el-GR" b="1" dirty="0"/>
            <a:t>δημόσιου</a:t>
          </a:r>
          <a:r>
            <a:rPr lang="el-GR" dirty="0"/>
            <a:t> και </a:t>
          </a:r>
          <a:r>
            <a:rPr lang="el-GR" b="1" dirty="0"/>
            <a:t>ιδιωτικού</a:t>
          </a:r>
          <a:r>
            <a:rPr lang="el-GR" dirty="0"/>
            <a:t> τομέα που είναι </a:t>
          </a:r>
          <a:r>
            <a:rPr lang="el-GR" b="1" dirty="0"/>
            <a:t>συμβεβλημένοι</a:t>
          </a:r>
          <a:r>
            <a:rPr lang="el-GR" dirty="0"/>
            <a:t> με τον Οργανισμό Ασφάλισης Υγείας</a:t>
          </a:r>
          <a:endParaRPr lang="en-GB" dirty="0"/>
        </a:p>
      </dgm:t>
    </dgm:pt>
    <dgm:pt modelId="{8B2614A4-E133-469C-9ECF-BC9D500547CF}" type="parTrans" cxnId="{24E5914E-BF1E-4E5A-B901-F5CBA7053CD8}">
      <dgm:prSet/>
      <dgm:spPr/>
      <dgm:t>
        <a:bodyPr/>
        <a:lstStyle/>
        <a:p>
          <a:endParaRPr lang="en-GB"/>
        </a:p>
      </dgm:t>
    </dgm:pt>
    <dgm:pt modelId="{54E74F43-6918-4BDC-95DF-3B1F7B3A90AE}" type="sibTrans" cxnId="{24E5914E-BF1E-4E5A-B901-F5CBA7053CD8}">
      <dgm:prSet/>
      <dgm:spPr/>
      <dgm:t>
        <a:bodyPr/>
        <a:lstStyle/>
        <a:p>
          <a:endParaRPr lang="en-GB"/>
        </a:p>
      </dgm:t>
    </dgm:pt>
    <dgm:pt modelId="{BC298F6E-552B-4D0A-A585-BD3BB1683C67}">
      <dgm:prSet phldrT="[Text]"/>
      <dgm:spPr/>
      <dgm:t>
        <a:bodyPr/>
        <a:lstStyle/>
        <a:p>
          <a:endParaRPr lang="en-GB" dirty="0"/>
        </a:p>
      </dgm:t>
    </dgm:pt>
    <dgm:pt modelId="{90EFC283-1D1D-4ACF-8133-518D70ED87E7}" type="parTrans" cxnId="{D8B61E43-2DE6-4B53-89E9-CA897D1BC4EA}">
      <dgm:prSet/>
      <dgm:spPr/>
      <dgm:t>
        <a:bodyPr/>
        <a:lstStyle/>
        <a:p>
          <a:endParaRPr lang="en-GB"/>
        </a:p>
      </dgm:t>
    </dgm:pt>
    <dgm:pt modelId="{68B52631-5168-4E11-B070-33111B493EC9}" type="sibTrans" cxnId="{D8B61E43-2DE6-4B53-89E9-CA897D1BC4EA}">
      <dgm:prSet/>
      <dgm:spPr/>
      <dgm:t>
        <a:bodyPr/>
        <a:lstStyle/>
        <a:p>
          <a:endParaRPr lang="en-GB"/>
        </a:p>
      </dgm:t>
    </dgm:pt>
    <dgm:pt modelId="{4C2313BB-2FDA-4E4E-8F40-14A92F90C68D}">
      <dgm:prSet phldrT="[Text]"/>
      <dgm:spPr/>
      <dgm:t>
        <a:bodyPr/>
        <a:lstStyle/>
        <a:p>
          <a:pPr rtl="0"/>
          <a:r>
            <a:rPr lang="el-GR" dirty="0"/>
            <a:t>Για την παροχή υπηρεσιών φροντίδας υγείας, ο ΟΑΥ συμβάλλεται με φυσικά, νομικά πρόσωπα  και κρατικές υπηρεσίες</a:t>
          </a:r>
          <a:endParaRPr lang="en-GB" dirty="0"/>
        </a:p>
      </dgm:t>
    </dgm:pt>
    <dgm:pt modelId="{9EF5D06D-D73D-4E8A-BF00-A2C0EADFED7D}" type="parTrans" cxnId="{352FB226-BE54-4F24-9FD7-2D216C5B1578}">
      <dgm:prSet/>
      <dgm:spPr/>
      <dgm:t>
        <a:bodyPr/>
        <a:lstStyle/>
        <a:p>
          <a:endParaRPr lang="en-GB"/>
        </a:p>
      </dgm:t>
    </dgm:pt>
    <dgm:pt modelId="{C9CE5EE2-3A69-4A23-A226-F805AB878BEA}" type="sibTrans" cxnId="{352FB226-BE54-4F24-9FD7-2D216C5B1578}">
      <dgm:prSet/>
      <dgm:spPr/>
      <dgm:t>
        <a:bodyPr/>
        <a:lstStyle/>
        <a:p>
          <a:endParaRPr lang="en-GB"/>
        </a:p>
      </dgm:t>
    </dgm:pt>
    <dgm:pt modelId="{8890D670-01BD-4E21-8D3A-806CCEFBCC19}">
      <dgm:prSet phldrT="[Text]"/>
      <dgm:spPr/>
      <dgm:t>
        <a:bodyPr/>
        <a:lstStyle/>
        <a:p>
          <a:endParaRPr lang="en-GB" dirty="0"/>
        </a:p>
      </dgm:t>
    </dgm:pt>
    <dgm:pt modelId="{85E30A37-84F4-498C-AB9B-39014333CA39}" type="parTrans" cxnId="{AF289A36-0367-4AE4-8489-B0C9180EC54A}">
      <dgm:prSet/>
      <dgm:spPr/>
      <dgm:t>
        <a:bodyPr/>
        <a:lstStyle/>
        <a:p>
          <a:endParaRPr lang="en-GB"/>
        </a:p>
      </dgm:t>
    </dgm:pt>
    <dgm:pt modelId="{CF20A858-42CC-458E-94A9-DC801510B8D7}" type="sibTrans" cxnId="{AF289A36-0367-4AE4-8489-B0C9180EC54A}">
      <dgm:prSet/>
      <dgm:spPr/>
      <dgm:t>
        <a:bodyPr/>
        <a:lstStyle/>
        <a:p>
          <a:endParaRPr lang="en-GB"/>
        </a:p>
      </dgm:t>
    </dgm:pt>
    <dgm:pt modelId="{37154A40-FBD2-4B88-B47C-6B07477776F7}">
      <dgm:prSet phldrT="[Text]"/>
      <dgm:spPr/>
      <dgm:t>
        <a:bodyPr/>
        <a:lstStyle/>
        <a:p>
          <a:endParaRPr lang="en-GB" dirty="0"/>
        </a:p>
      </dgm:t>
    </dgm:pt>
    <dgm:pt modelId="{86B6F4B4-B4D0-4AF3-9801-7B6525460351}" type="parTrans" cxnId="{1F1B0E1E-255F-4468-8113-BB58A91A6E5A}">
      <dgm:prSet/>
      <dgm:spPr/>
      <dgm:t>
        <a:bodyPr/>
        <a:lstStyle/>
        <a:p>
          <a:endParaRPr lang="en-GB"/>
        </a:p>
      </dgm:t>
    </dgm:pt>
    <dgm:pt modelId="{B86954A6-EE5B-4219-8A9E-C6F3B63D8787}" type="sibTrans" cxnId="{1F1B0E1E-255F-4468-8113-BB58A91A6E5A}">
      <dgm:prSet/>
      <dgm:spPr/>
      <dgm:t>
        <a:bodyPr/>
        <a:lstStyle/>
        <a:p>
          <a:endParaRPr lang="en-GB"/>
        </a:p>
      </dgm:t>
    </dgm:pt>
    <dgm:pt modelId="{2534E775-EA89-4BFA-9902-D557BE481F65}">
      <dgm:prSet phldrT="[Text]"/>
      <dgm:spPr/>
      <dgm:t>
        <a:bodyPr/>
        <a:lstStyle/>
        <a:p>
          <a:pPr rtl="0"/>
          <a:r>
            <a:rPr lang="el-GR" dirty="0"/>
            <a:t>Για τη σύναψη σύμβασης με τον ΟΑΥ, οι </a:t>
          </a:r>
          <a:r>
            <a:rPr lang="el-GR" dirty="0" err="1"/>
            <a:t>πάροχοι</a:t>
          </a:r>
          <a:r>
            <a:rPr lang="el-GR" dirty="0"/>
            <a:t> οφείλουν να πληρούν συγκεκριμένες </a:t>
          </a:r>
          <a:r>
            <a:rPr lang="el-GR" b="1" dirty="0"/>
            <a:t>ελάχιστες απαιτήσεις</a:t>
          </a:r>
          <a:r>
            <a:rPr lang="el-GR" dirty="0"/>
            <a:t> (πχ προσόντα, υποδομή)</a:t>
          </a:r>
          <a:endParaRPr lang="en-GB" dirty="0"/>
        </a:p>
      </dgm:t>
    </dgm:pt>
    <dgm:pt modelId="{AF405E2A-239F-49E9-93AA-70728FF7E3D5}" type="parTrans" cxnId="{DB4A06EB-130D-4E08-B843-50529A95951B}">
      <dgm:prSet/>
      <dgm:spPr/>
      <dgm:t>
        <a:bodyPr/>
        <a:lstStyle/>
        <a:p>
          <a:endParaRPr lang="en-GB"/>
        </a:p>
      </dgm:t>
    </dgm:pt>
    <dgm:pt modelId="{FD8F462D-5586-4B39-AE19-E6A73F55D349}" type="sibTrans" cxnId="{DB4A06EB-130D-4E08-B843-50529A95951B}">
      <dgm:prSet/>
      <dgm:spPr/>
      <dgm:t>
        <a:bodyPr/>
        <a:lstStyle/>
        <a:p>
          <a:endParaRPr lang="en-GB"/>
        </a:p>
      </dgm:t>
    </dgm:pt>
    <dgm:pt modelId="{68A94BEE-A8F6-4593-A28A-D4B38BAD7169}" type="pres">
      <dgm:prSet presAssocID="{0294921D-DFA6-4132-BE9D-70CC810C0517}" presName="linear" presStyleCnt="0">
        <dgm:presLayoutVars>
          <dgm:animLvl val="lvl"/>
          <dgm:resizeHandles val="exact"/>
        </dgm:presLayoutVars>
      </dgm:prSet>
      <dgm:spPr/>
    </dgm:pt>
    <dgm:pt modelId="{A3D7DDE8-623C-4257-A485-931B5A9772D4}" type="pres">
      <dgm:prSet presAssocID="{2BB6A1B3-7E82-4980-933B-9CD3E2EDAF48}" presName="parentText" presStyleLbl="node1" presStyleIdx="0" presStyleCnt="3" custScaleY="106881">
        <dgm:presLayoutVars>
          <dgm:chMax val="0"/>
          <dgm:bulletEnabled val="1"/>
        </dgm:presLayoutVars>
      </dgm:prSet>
      <dgm:spPr/>
    </dgm:pt>
    <dgm:pt modelId="{637D8042-34F9-4003-A511-D7075E25967C}" type="pres">
      <dgm:prSet presAssocID="{2BB6A1B3-7E82-4980-933B-9CD3E2EDAF48}" presName="childText" presStyleLbl="revTx" presStyleIdx="0" presStyleCnt="3">
        <dgm:presLayoutVars>
          <dgm:bulletEnabled val="1"/>
        </dgm:presLayoutVars>
      </dgm:prSet>
      <dgm:spPr/>
    </dgm:pt>
    <dgm:pt modelId="{289C142B-4E77-4C54-BBEA-2736E610B0E6}" type="pres">
      <dgm:prSet presAssocID="{4C2313BB-2FDA-4E4E-8F40-14A92F90C68D}" presName="parentText" presStyleLbl="node1" presStyleIdx="1" presStyleCnt="3" custScaleY="106881">
        <dgm:presLayoutVars>
          <dgm:chMax val="0"/>
          <dgm:bulletEnabled val="1"/>
        </dgm:presLayoutVars>
      </dgm:prSet>
      <dgm:spPr/>
    </dgm:pt>
    <dgm:pt modelId="{6C7B7733-90BB-4694-B840-808E0476F696}" type="pres">
      <dgm:prSet presAssocID="{4C2313BB-2FDA-4E4E-8F40-14A92F90C68D}" presName="childText" presStyleLbl="revTx" presStyleIdx="1" presStyleCnt="3">
        <dgm:presLayoutVars>
          <dgm:bulletEnabled val="1"/>
        </dgm:presLayoutVars>
      </dgm:prSet>
      <dgm:spPr/>
    </dgm:pt>
    <dgm:pt modelId="{22C51518-EC84-450D-BD54-6E7840E98BFF}" type="pres">
      <dgm:prSet presAssocID="{2534E775-EA89-4BFA-9902-D557BE481F65}" presName="parentText" presStyleLbl="node1" presStyleIdx="2" presStyleCnt="3" custScaleY="106881">
        <dgm:presLayoutVars>
          <dgm:chMax val="0"/>
          <dgm:bulletEnabled val="1"/>
        </dgm:presLayoutVars>
      </dgm:prSet>
      <dgm:spPr/>
    </dgm:pt>
    <dgm:pt modelId="{E706AB0F-B157-4459-B755-44C2331255AC}" type="pres">
      <dgm:prSet presAssocID="{2534E775-EA89-4BFA-9902-D557BE481F65}" presName="childText" presStyleLbl="revTx" presStyleIdx="2" presStyleCnt="3">
        <dgm:presLayoutVars>
          <dgm:bulletEnabled val="1"/>
        </dgm:presLayoutVars>
      </dgm:prSet>
      <dgm:spPr/>
    </dgm:pt>
  </dgm:ptLst>
  <dgm:cxnLst>
    <dgm:cxn modelId="{2F976705-EEB9-4D52-9DA2-C32C9F401693}" type="presOf" srcId="{BC298F6E-552B-4D0A-A585-BD3BB1683C67}" destId="{637D8042-34F9-4003-A511-D7075E25967C}" srcOrd="0" destOrd="0" presId="urn:microsoft.com/office/officeart/2005/8/layout/vList2"/>
    <dgm:cxn modelId="{1F1B0E1E-255F-4468-8113-BB58A91A6E5A}" srcId="{2534E775-EA89-4BFA-9902-D557BE481F65}" destId="{37154A40-FBD2-4B88-B47C-6B07477776F7}" srcOrd="0" destOrd="0" parTransId="{86B6F4B4-B4D0-4AF3-9801-7B6525460351}" sibTransId="{B86954A6-EE5B-4219-8A9E-C6F3B63D8787}"/>
    <dgm:cxn modelId="{352FB226-BE54-4F24-9FD7-2D216C5B1578}" srcId="{0294921D-DFA6-4132-BE9D-70CC810C0517}" destId="{4C2313BB-2FDA-4E4E-8F40-14A92F90C68D}" srcOrd="1" destOrd="0" parTransId="{9EF5D06D-D73D-4E8A-BF00-A2C0EADFED7D}" sibTransId="{C9CE5EE2-3A69-4A23-A226-F805AB878BEA}"/>
    <dgm:cxn modelId="{AF289A36-0367-4AE4-8489-B0C9180EC54A}" srcId="{4C2313BB-2FDA-4E4E-8F40-14A92F90C68D}" destId="{8890D670-01BD-4E21-8D3A-806CCEFBCC19}" srcOrd="0" destOrd="0" parTransId="{85E30A37-84F4-498C-AB9B-39014333CA39}" sibTransId="{CF20A858-42CC-458E-94A9-DC801510B8D7}"/>
    <dgm:cxn modelId="{D8B61E43-2DE6-4B53-89E9-CA897D1BC4EA}" srcId="{2BB6A1B3-7E82-4980-933B-9CD3E2EDAF48}" destId="{BC298F6E-552B-4D0A-A585-BD3BB1683C67}" srcOrd="0" destOrd="0" parTransId="{90EFC283-1D1D-4ACF-8133-518D70ED87E7}" sibTransId="{68B52631-5168-4E11-B070-33111B493EC9}"/>
    <dgm:cxn modelId="{6FED1366-675E-4FA5-A42B-D4E5F76167BB}" type="presOf" srcId="{4C2313BB-2FDA-4E4E-8F40-14A92F90C68D}" destId="{289C142B-4E77-4C54-BBEA-2736E610B0E6}" srcOrd="0" destOrd="0" presId="urn:microsoft.com/office/officeart/2005/8/layout/vList2"/>
    <dgm:cxn modelId="{24E5914E-BF1E-4E5A-B901-F5CBA7053CD8}" srcId="{0294921D-DFA6-4132-BE9D-70CC810C0517}" destId="{2BB6A1B3-7E82-4980-933B-9CD3E2EDAF48}" srcOrd="0" destOrd="0" parTransId="{8B2614A4-E133-469C-9ECF-BC9D500547CF}" sibTransId="{54E74F43-6918-4BDC-95DF-3B1F7B3A90AE}"/>
    <dgm:cxn modelId="{B2CC02A6-C48D-468A-8B88-BB890F4B524C}" type="presOf" srcId="{37154A40-FBD2-4B88-B47C-6B07477776F7}" destId="{E706AB0F-B157-4459-B755-44C2331255AC}" srcOrd="0" destOrd="0" presId="urn:microsoft.com/office/officeart/2005/8/layout/vList2"/>
    <dgm:cxn modelId="{9DADFBC8-A4D8-47A7-8797-0CB2BDEBF589}" type="presOf" srcId="{2534E775-EA89-4BFA-9902-D557BE481F65}" destId="{22C51518-EC84-450D-BD54-6E7840E98BFF}" srcOrd="0" destOrd="0" presId="urn:microsoft.com/office/officeart/2005/8/layout/vList2"/>
    <dgm:cxn modelId="{749D7AD5-A0F3-4B3D-B0BD-4F0F3657BF22}" type="presOf" srcId="{0294921D-DFA6-4132-BE9D-70CC810C0517}" destId="{68A94BEE-A8F6-4593-A28A-D4B38BAD7169}" srcOrd="0" destOrd="0" presId="urn:microsoft.com/office/officeart/2005/8/layout/vList2"/>
    <dgm:cxn modelId="{3909ADE6-3062-490F-ADB4-7EC23321B2B6}" type="presOf" srcId="{8890D670-01BD-4E21-8D3A-806CCEFBCC19}" destId="{6C7B7733-90BB-4694-B840-808E0476F696}" srcOrd="0" destOrd="0" presId="urn:microsoft.com/office/officeart/2005/8/layout/vList2"/>
    <dgm:cxn modelId="{DB4A06EB-130D-4E08-B843-50529A95951B}" srcId="{0294921D-DFA6-4132-BE9D-70CC810C0517}" destId="{2534E775-EA89-4BFA-9902-D557BE481F65}" srcOrd="2" destOrd="0" parTransId="{AF405E2A-239F-49E9-93AA-70728FF7E3D5}" sibTransId="{FD8F462D-5586-4B39-AE19-E6A73F55D349}"/>
    <dgm:cxn modelId="{0E432DFB-1550-4087-AECA-01B65E6EC265}" type="presOf" srcId="{2BB6A1B3-7E82-4980-933B-9CD3E2EDAF48}" destId="{A3D7DDE8-623C-4257-A485-931B5A9772D4}" srcOrd="0" destOrd="0" presId="urn:microsoft.com/office/officeart/2005/8/layout/vList2"/>
    <dgm:cxn modelId="{5DA0455C-2693-4C9A-8FDA-18784838DE24}" type="presParOf" srcId="{68A94BEE-A8F6-4593-A28A-D4B38BAD7169}" destId="{A3D7DDE8-623C-4257-A485-931B5A9772D4}" srcOrd="0" destOrd="0" presId="urn:microsoft.com/office/officeart/2005/8/layout/vList2"/>
    <dgm:cxn modelId="{3E691CB7-0D76-4A2F-ADF2-719A72F212A6}" type="presParOf" srcId="{68A94BEE-A8F6-4593-A28A-D4B38BAD7169}" destId="{637D8042-34F9-4003-A511-D7075E25967C}" srcOrd="1" destOrd="0" presId="urn:microsoft.com/office/officeart/2005/8/layout/vList2"/>
    <dgm:cxn modelId="{506BE011-D128-4C89-BF7B-E4DC7541E24D}" type="presParOf" srcId="{68A94BEE-A8F6-4593-A28A-D4B38BAD7169}" destId="{289C142B-4E77-4C54-BBEA-2736E610B0E6}" srcOrd="2" destOrd="0" presId="urn:microsoft.com/office/officeart/2005/8/layout/vList2"/>
    <dgm:cxn modelId="{F7C9E950-81D6-47D0-8130-A19A8B3CEF6D}" type="presParOf" srcId="{68A94BEE-A8F6-4593-A28A-D4B38BAD7169}" destId="{6C7B7733-90BB-4694-B840-808E0476F696}" srcOrd="3" destOrd="0" presId="urn:microsoft.com/office/officeart/2005/8/layout/vList2"/>
    <dgm:cxn modelId="{16584EE9-1B71-4575-B00E-1F8F001EA5D6}" type="presParOf" srcId="{68A94BEE-A8F6-4593-A28A-D4B38BAD7169}" destId="{22C51518-EC84-450D-BD54-6E7840E98BFF}" srcOrd="4" destOrd="0" presId="urn:microsoft.com/office/officeart/2005/8/layout/vList2"/>
    <dgm:cxn modelId="{6FCC81D1-9187-445A-AD5C-05E48F0EC8DA}" type="presParOf" srcId="{68A94BEE-A8F6-4593-A28A-D4B38BAD7169}" destId="{E706AB0F-B157-4459-B755-44C2331255AC}" srcOrd="5"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AB117A4-BF43-47C1-B6AC-3EAA27418B0E}" type="doc">
      <dgm:prSet loTypeId="urn:microsoft.com/office/officeart/2005/8/layout/lProcess3" loCatId="process" qsTypeId="urn:microsoft.com/office/officeart/2005/8/quickstyle/simple1" qsCatId="simple" csTypeId="urn:microsoft.com/office/officeart/2005/8/colors/accent2_1" csCatId="accent2" phldr="1"/>
      <dgm:spPr/>
      <dgm:t>
        <a:bodyPr/>
        <a:lstStyle/>
        <a:p>
          <a:endParaRPr lang="en-GB"/>
        </a:p>
      </dgm:t>
    </dgm:pt>
    <dgm:pt modelId="{0148F482-6481-4939-9092-D60CEBDDF778}">
      <dgm:prSet phldrT="[Text]" custT="1">
        <dgm:style>
          <a:lnRef idx="1">
            <a:schemeClr val="accent2"/>
          </a:lnRef>
          <a:fillRef idx="2">
            <a:schemeClr val="accent2"/>
          </a:fillRef>
          <a:effectRef idx="1">
            <a:schemeClr val="accent2"/>
          </a:effectRef>
          <a:fontRef idx="minor">
            <a:schemeClr val="dk1"/>
          </a:fontRef>
        </dgm:style>
      </dgm:prSet>
      <dgm:spPr>
        <a:solidFill>
          <a:schemeClr val="accent6">
            <a:lumMod val="20000"/>
            <a:lumOff val="80000"/>
          </a:schemeClr>
        </a:solidFill>
      </dgm:spPr>
      <dgm:t>
        <a:bodyPr/>
        <a:lstStyle/>
        <a:p>
          <a:pPr algn="just"/>
          <a:r>
            <a:rPr lang="el-GR" sz="1800" dirty="0"/>
            <a:t>Εγγραφή στο ΓεΣΥ μέσω της διαδικτυακής πύλης δικαιούχων ή έπειτα από επίσκεψη σε ΠΙ </a:t>
          </a:r>
          <a:endParaRPr lang="en-GB" sz="1800" dirty="0"/>
        </a:p>
      </dgm:t>
    </dgm:pt>
    <dgm:pt modelId="{15E19900-FAC8-4807-957B-6DCBD303065E}" type="parTrans" cxnId="{E17CE3CB-8A06-4DC2-8AFD-18BC8258CA2D}">
      <dgm:prSet/>
      <dgm:spPr/>
      <dgm:t>
        <a:bodyPr/>
        <a:lstStyle/>
        <a:p>
          <a:endParaRPr lang="en-GB"/>
        </a:p>
      </dgm:t>
    </dgm:pt>
    <dgm:pt modelId="{ED1DDF62-0169-4CCA-B524-F217054FBAE6}" type="sibTrans" cxnId="{E17CE3CB-8A06-4DC2-8AFD-18BC8258CA2D}">
      <dgm:prSet/>
      <dgm:spPr/>
      <dgm:t>
        <a:bodyPr/>
        <a:lstStyle/>
        <a:p>
          <a:endParaRPr lang="en-GB"/>
        </a:p>
      </dgm:t>
    </dgm:pt>
    <dgm:pt modelId="{9B725BE8-EF04-4850-83C9-8488530F0861}">
      <dgm:prSet phldrT="[Text]" custT="1"/>
      <dgm:spPr/>
      <dgm:t>
        <a:bodyPr/>
        <a:lstStyle/>
        <a:p>
          <a:r>
            <a:rPr lang="el-GR" sz="1600" dirty="0"/>
            <a:t>Επιλογή Προσωπικού Ιατρού</a:t>
          </a:r>
          <a:endParaRPr lang="en-GB" sz="1600" dirty="0"/>
        </a:p>
      </dgm:t>
    </dgm:pt>
    <dgm:pt modelId="{B2C4652D-CC59-413F-8822-67CD8CAB782C}" type="parTrans" cxnId="{9AD5DFAB-8D92-4A10-BF37-A9729A0DCABA}">
      <dgm:prSet/>
      <dgm:spPr/>
      <dgm:t>
        <a:bodyPr/>
        <a:lstStyle/>
        <a:p>
          <a:endParaRPr lang="en-GB"/>
        </a:p>
      </dgm:t>
    </dgm:pt>
    <dgm:pt modelId="{5A26B088-3586-46B4-B1B9-7EAB6ABB48B4}" type="sibTrans" cxnId="{9AD5DFAB-8D92-4A10-BF37-A9729A0DCABA}">
      <dgm:prSet/>
      <dgm:spPr/>
      <dgm:t>
        <a:bodyPr/>
        <a:lstStyle/>
        <a:p>
          <a:endParaRPr lang="en-GB"/>
        </a:p>
      </dgm:t>
    </dgm:pt>
    <dgm:pt modelId="{C6765CDB-6200-4B37-8FBB-25CA5D951AE3}">
      <dgm:prSet phldrT="[Text]" custT="1">
        <dgm:style>
          <a:lnRef idx="1">
            <a:schemeClr val="accent2"/>
          </a:lnRef>
          <a:fillRef idx="2">
            <a:schemeClr val="accent2"/>
          </a:fillRef>
          <a:effectRef idx="1">
            <a:schemeClr val="accent2"/>
          </a:effectRef>
          <a:fontRef idx="minor">
            <a:schemeClr val="dk1"/>
          </a:fontRef>
        </dgm:style>
      </dgm:prSet>
      <dgm:spPr>
        <a:solidFill>
          <a:schemeClr val="accent6">
            <a:lumMod val="20000"/>
            <a:lumOff val="80000"/>
          </a:schemeClr>
        </a:solidFill>
      </dgm:spPr>
      <dgm:t>
        <a:bodyPr/>
        <a:lstStyle/>
        <a:p>
          <a:pPr algn="just"/>
          <a:r>
            <a:rPr lang="el-GR" sz="1800" dirty="0"/>
            <a:t>Εγγραφή σε κατάλογο ΠΙ της επιλογής του κάθε δικαιούχου μέσω της διαδικτυακής πύλης δικαιούχων ή έπειτα από επίσκεψη σε ΠΙ</a:t>
          </a:r>
          <a:endParaRPr lang="en-GB" sz="1800" dirty="0"/>
        </a:p>
      </dgm:t>
    </dgm:pt>
    <dgm:pt modelId="{83AD22CA-552D-43FC-9344-01F66143EAF2}" type="parTrans" cxnId="{FCFB4A19-BABB-405D-BF26-5A5AF451643E}">
      <dgm:prSet/>
      <dgm:spPr/>
      <dgm:t>
        <a:bodyPr/>
        <a:lstStyle/>
        <a:p>
          <a:endParaRPr lang="en-GB"/>
        </a:p>
      </dgm:t>
    </dgm:pt>
    <dgm:pt modelId="{5229243E-F612-441D-BB47-259E08EFE69F}" type="sibTrans" cxnId="{FCFB4A19-BABB-405D-BF26-5A5AF451643E}">
      <dgm:prSet/>
      <dgm:spPr/>
      <dgm:t>
        <a:bodyPr/>
        <a:lstStyle/>
        <a:p>
          <a:endParaRPr lang="en-GB"/>
        </a:p>
      </dgm:t>
    </dgm:pt>
    <dgm:pt modelId="{3C6E7154-EFC2-4616-9C29-71D87F83FC2C}">
      <dgm:prSet phldrT="[Text]" custT="1"/>
      <dgm:spPr/>
      <dgm:t>
        <a:bodyPr/>
        <a:lstStyle/>
        <a:p>
          <a:r>
            <a:rPr lang="el-GR" sz="1600" dirty="0"/>
            <a:t>Επίσκεψη στον Προσωπικό Ιατρό</a:t>
          </a:r>
          <a:endParaRPr lang="en-GB" sz="1600" dirty="0"/>
        </a:p>
      </dgm:t>
    </dgm:pt>
    <dgm:pt modelId="{E1600A40-37B6-4408-BD13-5F6166FBF92C}" type="parTrans" cxnId="{3DE1803C-8DBB-4FAB-9C28-EFAEC4766C52}">
      <dgm:prSet/>
      <dgm:spPr/>
      <dgm:t>
        <a:bodyPr/>
        <a:lstStyle/>
        <a:p>
          <a:endParaRPr lang="en-GB"/>
        </a:p>
      </dgm:t>
    </dgm:pt>
    <dgm:pt modelId="{EA05E7D2-AA0C-4E78-A27F-4D85380507AB}" type="sibTrans" cxnId="{3DE1803C-8DBB-4FAB-9C28-EFAEC4766C52}">
      <dgm:prSet/>
      <dgm:spPr/>
      <dgm:t>
        <a:bodyPr/>
        <a:lstStyle/>
        <a:p>
          <a:endParaRPr lang="en-GB"/>
        </a:p>
      </dgm:t>
    </dgm:pt>
    <dgm:pt modelId="{0B831409-C989-49B8-9AF5-FA4B97DB04E4}">
      <dgm:prSet phldrT="[Text]" custT="1">
        <dgm:style>
          <a:lnRef idx="1">
            <a:schemeClr val="accent2"/>
          </a:lnRef>
          <a:fillRef idx="2">
            <a:schemeClr val="accent2"/>
          </a:fillRef>
          <a:effectRef idx="1">
            <a:schemeClr val="accent2"/>
          </a:effectRef>
          <a:fontRef idx="minor">
            <a:schemeClr val="dk1"/>
          </a:fontRef>
        </dgm:style>
      </dgm:prSet>
      <dgm:spPr>
        <a:solidFill>
          <a:schemeClr val="accent6">
            <a:lumMod val="20000"/>
            <a:lumOff val="80000"/>
          </a:schemeClr>
        </a:solidFill>
      </dgm:spPr>
      <dgm:t>
        <a:bodyPr/>
        <a:lstStyle/>
        <a:p>
          <a:pPr algn="just"/>
          <a:r>
            <a:rPr lang="el-GR" sz="1800" dirty="0"/>
            <a:t>Ο Προσωπικός Ιατρός αποτελεί το πρώτο σημείο επαφής και τον πλοηγό του δικαιούχου στο Σύστημα</a:t>
          </a:r>
          <a:endParaRPr lang="en-GB" sz="1800" dirty="0"/>
        </a:p>
      </dgm:t>
    </dgm:pt>
    <dgm:pt modelId="{48464E3F-8755-4A6D-8561-76A91257B8BA}" type="parTrans" cxnId="{A738DF95-4DF6-460C-A4E1-7A8A8863EB31}">
      <dgm:prSet/>
      <dgm:spPr/>
      <dgm:t>
        <a:bodyPr/>
        <a:lstStyle/>
        <a:p>
          <a:endParaRPr lang="en-GB"/>
        </a:p>
      </dgm:t>
    </dgm:pt>
    <dgm:pt modelId="{58C69315-718E-40BA-B740-35E54090B687}" type="sibTrans" cxnId="{A738DF95-4DF6-460C-A4E1-7A8A8863EB31}">
      <dgm:prSet/>
      <dgm:spPr/>
      <dgm:t>
        <a:bodyPr/>
        <a:lstStyle/>
        <a:p>
          <a:endParaRPr lang="en-GB"/>
        </a:p>
      </dgm:t>
    </dgm:pt>
    <dgm:pt modelId="{4E8C8E72-6E8F-4856-8568-7518E2E80217}">
      <dgm:prSet phldrT="[Text]" custT="1"/>
      <dgm:spPr/>
      <dgm:t>
        <a:bodyPr/>
        <a:lstStyle/>
        <a:p>
          <a:r>
            <a:rPr lang="el-GR" sz="1600" dirty="0"/>
            <a:t>Επίσκεψη σε Ειδικό Ιατρό</a:t>
          </a:r>
          <a:endParaRPr lang="en-GB" sz="1600" dirty="0"/>
        </a:p>
      </dgm:t>
    </dgm:pt>
    <dgm:pt modelId="{3977F5D0-B672-4B79-9D2D-D777F3871B0C}" type="parTrans" cxnId="{ADC09AA3-699D-4F47-A488-3DC8975E7FD7}">
      <dgm:prSet/>
      <dgm:spPr/>
      <dgm:t>
        <a:bodyPr/>
        <a:lstStyle/>
        <a:p>
          <a:endParaRPr lang="en-GB"/>
        </a:p>
      </dgm:t>
    </dgm:pt>
    <dgm:pt modelId="{C41C5165-15BB-4FF7-BCF9-E10E9108A01E}" type="sibTrans" cxnId="{ADC09AA3-699D-4F47-A488-3DC8975E7FD7}">
      <dgm:prSet/>
      <dgm:spPr/>
      <dgm:t>
        <a:bodyPr/>
        <a:lstStyle/>
        <a:p>
          <a:endParaRPr lang="en-GB"/>
        </a:p>
      </dgm:t>
    </dgm:pt>
    <dgm:pt modelId="{544EB709-FA35-4118-989C-599F0742435F}">
      <dgm:prSet phldrT="[Text]" custT="1"/>
      <dgm:spPr/>
      <dgm:t>
        <a:bodyPr/>
        <a:lstStyle/>
        <a:p>
          <a:r>
            <a:rPr lang="el-GR" sz="1600" dirty="0"/>
            <a:t>Επίσκεψη σε άλλους παροχείς </a:t>
          </a:r>
          <a:endParaRPr lang="en-GB" sz="1600" dirty="0"/>
        </a:p>
      </dgm:t>
    </dgm:pt>
    <dgm:pt modelId="{CC9DCC38-7B3F-4D9A-83E0-C785836CFD52}" type="parTrans" cxnId="{92CD03DC-1DB7-49CF-BE05-96A27413737D}">
      <dgm:prSet/>
      <dgm:spPr/>
      <dgm:t>
        <a:bodyPr/>
        <a:lstStyle/>
        <a:p>
          <a:endParaRPr lang="en-GB"/>
        </a:p>
      </dgm:t>
    </dgm:pt>
    <dgm:pt modelId="{0F4DB3BC-0C64-47C6-A205-857D870C6B62}" type="sibTrans" cxnId="{92CD03DC-1DB7-49CF-BE05-96A27413737D}">
      <dgm:prSet/>
      <dgm:spPr/>
      <dgm:t>
        <a:bodyPr/>
        <a:lstStyle/>
        <a:p>
          <a:endParaRPr lang="en-GB"/>
        </a:p>
      </dgm:t>
    </dgm:pt>
    <dgm:pt modelId="{8D3EC394-0215-4AED-BCCA-D1DFA93ECAF5}">
      <dgm:prSet phldrT="[Text]" custT="1">
        <dgm:style>
          <a:lnRef idx="1">
            <a:schemeClr val="accent2"/>
          </a:lnRef>
          <a:fillRef idx="2">
            <a:schemeClr val="accent2"/>
          </a:fillRef>
          <a:effectRef idx="1">
            <a:schemeClr val="accent2"/>
          </a:effectRef>
          <a:fontRef idx="minor">
            <a:schemeClr val="dk1"/>
          </a:fontRef>
        </dgm:style>
      </dgm:prSet>
      <dgm:spPr>
        <a:solidFill>
          <a:schemeClr val="accent6">
            <a:lumMod val="20000"/>
            <a:lumOff val="80000"/>
          </a:schemeClr>
        </a:solidFill>
      </dgm:spPr>
      <dgm:t>
        <a:bodyPr/>
        <a:lstStyle/>
        <a:p>
          <a:pPr algn="just"/>
          <a:r>
            <a:rPr lang="el-GR" sz="1800" dirty="0"/>
            <a:t>Κατόπιν παραπομπής </a:t>
          </a:r>
          <a:endParaRPr lang="en-GB" sz="1800" dirty="0"/>
        </a:p>
      </dgm:t>
    </dgm:pt>
    <dgm:pt modelId="{91294FBA-0EF9-467B-9B88-2D0226BDDE78}" type="parTrans" cxnId="{4B0BB1E8-2D0E-4E3B-92B4-D7B55E11E850}">
      <dgm:prSet/>
      <dgm:spPr/>
      <dgm:t>
        <a:bodyPr/>
        <a:lstStyle/>
        <a:p>
          <a:endParaRPr lang="en-GB"/>
        </a:p>
      </dgm:t>
    </dgm:pt>
    <dgm:pt modelId="{651BFE95-35A2-4416-A9EF-6A4AE0A3360C}" type="sibTrans" cxnId="{4B0BB1E8-2D0E-4E3B-92B4-D7B55E11E850}">
      <dgm:prSet/>
      <dgm:spPr/>
      <dgm:t>
        <a:bodyPr/>
        <a:lstStyle/>
        <a:p>
          <a:endParaRPr lang="en-GB"/>
        </a:p>
      </dgm:t>
    </dgm:pt>
    <dgm:pt modelId="{4267646C-139E-42F8-87FB-1CC318295C8C}">
      <dgm:prSet phldrT="[Text]" custT="1">
        <dgm:style>
          <a:lnRef idx="1">
            <a:schemeClr val="accent2"/>
          </a:lnRef>
          <a:fillRef idx="2">
            <a:schemeClr val="accent2"/>
          </a:fillRef>
          <a:effectRef idx="1">
            <a:schemeClr val="accent2"/>
          </a:effectRef>
          <a:fontRef idx="minor">
            <a:schemeClr val="dk1"/>
          </a:fontRef>
        </dgm:style>
      </dgm:prSet>
      <dgm:spPr>
        <a:solidFill>
          <a:schemeClr val="accent6">
            <a:lumMod val="20000"/>
            <a:lumOff val="80000"/>
          </a:schemeClr>
        </a:solidFill>
      </dgm:spPr>
      <dgm:t>
        <a:bodyPr/>
        <a:lstStyle/>
        <a:p>
          <a:pPr algn="just"/>
          <a:r>
            <a:rPr lang="el-GR" sz="1800" dirty="0"/>
            <a:t>Κατόπιν παραπομπής</a:t>
          </a:r>
          <a:endParaRPr lang="en-GB" sz="1800" dirty="0"/>
        </a:p>
      </dgm:t>
    </dgm:pt>
    <dgm:pt modelId="{361F0BE4-8A59-4F23-B016-6C3EC84C7DBA}" type="parTrans" cxnId="{FB753E26-A626-4AD0-AFF7-B85890435192}">
      <dgm:prSet/>
      <dgm:spPr/>
      <dgm:t>
        <a:bodyPr/>
        <a:lstStyle/>
        <a:p>
          <a:endParaRPr lang="en-GB"/>
        </a:p>
      </dgm:t>
    </dgm:pt>
    <dgm:pt modelId="{2D6BAE95-76EF-4146-B09C-4925B181DD03}" type="sibTrans" cxnId="{FB753E26-A626-4AD0-AFF7-B85890435192}">
      <dgm:prSet/>
      <dgm:spPr/>
      <dgm:t>
        <a:bodyPr/>
        <a:lstStyle/>
        <a:p>
          <a:endParaRPr lang="en-GB"/>
        </a:p>
      </dgm:t>
    </dgm:pt>
    <dgm:pt modelId="{10A26473-BB43-4320-BF96-EDB5023CD0B4}">
      <dgm:prSet phldrT="[Text]" custT="1"/>
      <dgm:spPr/>
      <dgm:t>
        <a:bodyPr/>
        <a:lstStyle/>
        <a:p>
          <a:r>
            <a:rPr lang="el-GR" sz="1600" dirty="0"/>
            <a:t>Εγγραφή στο ΓεΣΥ</a:t>
          </a:r>
          <a:endParaRPr lang="en-GB" sz="1600" dirty="0"/>
        </a:p>
      </dgm:t>
    </dgm:pt>
    <dgm:pt modelId="{689D50A9-9A1C-45AE-A7B1-A2297CB39BF6}" type="sibTrans" cxnId="{469CFB03-277B-4EC4-86AD-CAC27CCB8BAE}">
      <dgm:prSet/>
      <dgm:spPr/>
      <dgm:t>
        <a:bodyPr/>
        <a:lstStyle/>
        <a:p>
          <a:endParaRPr lang="en-GB"/>
        </a:p>
      </dgm:t>
    </dgm:pt>
    <dgm:pt modelId="{9A126F52-4910-4F8A-9F3B-3D28D3B5269D}" type="parTrans" cxnId="{469CFB03-277B-4EC4-86AD-CAC27CCB8BAE}">
      <dgm:prSet/>
      <dgm:spPr/>
      <dgm:t>
        <a:bodyPr/>
        <a:lstStyle/>
        <a:p>
          <a:endParaRPr lang="en-GB"/>
        </a:p>
      </dgm:t>
    </dgm:pt>
    <dgm:pt modelId="{EF10AD91-0B1D-4524-8957-18739C641989}" type="pres">
      <dgm:prSet presAssocID="{9AB117A4-BF43-47C1-B6AC-3EAA27418B0E}" presName="Name0" presStyleCnt="0">
        <dgm:presLayoutVars>
          <dgm:chPref val="3"/>
          <dgm:dir/>
          <dgm:animLvl val="lvl"/>
          <dgm:resizeHandles/>
        </dgm:presLayoutVars>
      </dgm:prSet>
      <dgm:spPr/>
    </dgm:pt>
    <dgm:pt modelId="{D821BDF3-FD8C-413F-9565-65C37B8B91DD}" type="pres">
      <dgm:prSet presAssocID="{10A26473-BB43-4320-BF96-EDB5023CD0B4}" presName="horFlow" presStyleCnt="0"/>
      <dgm:spPr/>
    </dgm:pt>
    <dgm:pt modelId="{30644EBE-E0D9-4096-AA7C-A7CAFEE2B2B9}" type="pres">
      <dgm:prSet presAssocID="{10A26473-BB43-4320-BF96-EDB5023CD0B4}" presName="bigChev" presStyleLbl="node1" presStyleIdx="0" presStyleCnt="5" custScaleX="87225" custLinFactNeighborX="-73986"/>
      <dgm:spPr/>
    </dgm:pt>
    <dgm:pt modelId="{03034F8D-B39F-40DF-BE42-061FAE140FDD}" type="pres">
      <dgm:prSet presAssocID="{15E19900-FAC8-4807-957B-6DCBD303065E}" presName="parTrans" presStyleCnt="0"/>
      <dgm:spPr/>
    </dgm:pt>
    <dgm:pt modelId="{83B03B8A-DF87-4E66-90C5-7C0D7A5591E9}" type="pres">
      <dgm:prSet presAssocID="{0148F482-6481-4939-9092-D60CEBDDF778}" presName="node" presStyleLbl="alignAccFollowNode1" presStyleIdx="0" presStyleCnt="5" custScaleX="304241" custScaleY="85443" custLinFactNeighborX="55474" custLinFactNeighborY="-1965">
        <dgm:presLayoutVars>
          <dgm:bulletEnabled val="1"/>
        </dgm:presLayoutVars>
      </dgm:prSet>
      <dgm:spPr>
        <a:prstGeom prst="roundRect">
          <a:avLst/>
        </a:prstGeom>
      </dgm:spPr>
    </dgm:pt>
    <dgm:pt modelId="{FA891DCD-70C2-48B3-ADE8-887768FECE8D}" type="pres">
      <dgm:prSet presAssocID="{10A26473-BB43-4320-BF96-EDB5023CD0B4}" presName="vSp" presStyleCnt="0"/>
      <dgm:spPr/>
    </dgm:pt>
    <dgm:pt modelId="{26995041-8019-47DF-934B-94E728B4A315}" type="pres">
      <dgm:prSet presAssocID="{9B725BE8-EF04-4850-83C9-8488530F0861}" presName="horFlow" presStyleCnt="0"/>
      <dgm:spPr/>
    </dgm:pt>
    <dgm:pt modelId="{23FFC388-76B0-4111-A20F-67AC1F1939BC}" type="pres">
      <dgm:prSet presAssocID="{9B725BE8-EF04-4850-83C9-8488530F0861}" presName="bigChev" presStyleLbl="node1" presStyleIdx="1" presStyleCnt="5" custScaleX="99251" custScaleY="103177" custLinFactNeighborX="-73986"/>
      <dgm:spPr/>
    </dgm:pt>
    <dgm:pt modelId="{A9406B62-B5B7-4DE0-B1E0-2F7732228410}" type="pres">
      <dgm:prSet presAssocID="{83AD22CA-552D-43FC-9344-01F66143EAF2}" presName="parTrans" presStyleCnt="0"/>
      <dgm:spPr/>
    </dgm:pt>
    <dgm:pt modelId="{51495109-2A4C-4E75-B818-140C45277A29}" type="pres">
      <dgm:prSet presAssocID="{C6765CDB-6200-4B37-8FBB-25CA5D951AE3}" presName="node" presStyleLbl="alignAccFollowNode1" presStyleIdx="1" presStyleCnt="5" custScaleX="302482" custScaleY="115249" custLinFactNeighborX="97969" custLinFactNeighborY="-4017">
        <dgm:presLayoutVars>
          <dgm:bulletEnabled val="1"/>
        </dgm:presLayoutVars>
      </dgm:prSet>
      <dgm:spPr>
        <a:prstGeom prst="roundRect">
          <a:avLst/>
        </a:prstGeom>
      </dgm:spPr>
    </dgm:pt>
    <dgm:pt modelId="{A84CC696-5508-49B3-A3C0-B7B6B2B6A4EF}" type="pres">
      <dgm:prSet presAssocID="{9B725BE8-EF04-4850-83C9-8488530F0861}" presName="vSp" presStyleCnt="0"/>
      <dgm:spPr/>
    </dgm:pt>
    <dgm:pt modelId="{4FD9D6C7-B31F-4190-B569-2587F0ED8E6C}" type="pres">
      <dgm:prSet presAssocID="{3C6E7154-EFC2-4616-9C29-71D87F83FC2C}" presName="horFlow" presStyleCnt="0"/>
      <dgm:spPr/>
    </dgm:pt>
    <dgm:pt modelId="{56041DC9-3242-42BB-A184-6B1F32091E5F}" type="pres">
      <dgm:prSet presAssocID="{3C6E7154-EFC2-4616-9C29-71D87F83FC2C}" presName="bigChev" presStyleLbl="node1" presStyleIdx="2" presStyleCnt="5" custScaleX="86704" custLinFactNeighborX="-73986"/>
      <dgm:spPr/>
    </dgm:pt>
    <dgm:pt modelId="{CC97336C-102B-4EE4-AFB0-60345A867784}" type="pres">
      <dgm:prSet presAssocID="{48464E3F-8755-4A6D-8561-76A91257B8BA}" presName="parTrans" presStyleCnt="0"/>
      <dgm:spPr/>
    </dgm:pt>
    <dgm:pt modelId="{3B67F31C-895C-4C95-B4B7-1974116183AA}" type="pres">
      <dgm:prSet presAssocID="{0B831409-C989-49B8-9AF5-FA4B97DB04E4}" presName="node" presStyleLbl="alignAccFollowNode1" presStyleIdx="2" presStyleCnt="5" custScaleX="302990" custScaleY="122415" custLinFactX="211" custLinFactNeighborX="100000">
        <dgm:presLayoutVars>
          <dgm:bulletEnabled val="1"/>
        </dgm:presLayoutVars>
      </dgm:prSet>
      <dgm:spPr>
        <a:prstGeom prst="roundRect">
          <a:avLst/>
        </a:prstGeom>
      </dgm:spPr>
    </dgm:pt>
    <dgm:pt modelId="{85518932-C3E9-43CC-8837-42A73510434F}" type="pres">
      <dgm:prSet presAssocID="{3C6E7154-EFC2-4616-9C29-71D87F83FC2C}" presName="vSp" presStyleCnt="0"/>
      <dgm:spPr/>
    </dgm:pt>
    <dgm:pt modelId="{36D163F7-9148-4D3E-B364-41D51D6CB185}" type="pres">
      <dgm:prSet presAssocID="{4E8C8E72-6E8F-4856-8568-7518E2E80217}" presName="horFlow" presStyleCnt="0"/>
      <dgm:spPr/>
    </dgm:pt>
    <dgm:pt modelId="{2CD631DE-7C4D-461D-822E-B7CE310726D3}" type="pres">
      <dgm:prSet presAssocID="{4E8C8E72-6E8F-4856-8568-7518E2E80217}" presName="bigChev" presStyleLbl="node1" presStyleIdx="3" presStyleCnt="5" custScaleX="84913" custScaleY="100040" custLinFactNeighborX="-73986"/>
      <dgm:spPr/>
    </dgm:pt>
    <dgm:pt modelId="{EFA95083-D84F-42C3-BA00-1722E8981CED}" type="pres">
      <dgm:prSet presAssocID="{91294FBA-0EF9-467B-9B88-2D0226BDDE78}" presName="parTrans" presStyleCnt="0"/>
      <dgm:spPr/>
    </dgm:pt>
    <dgm:pt modelId="{5C20EC90-B668-4F4F-9959-C13BF19EF1E6}" type="pres">
      <dgm:prSet presAssocID="{8D3EC394-0215-4AED-BCCA-D1DFA93ECAF5}" presName="node" presStyleLbl="alignAccFollowNode1" presStyleIdx="3" presStyleCnt="5" custScaleX="304951" custScaleY="116021" custLinFactX="950" custLinFactNeighborX="100000" custLinFactNeighborY="1339">
        <dgm:presLayoutVars>
          <dgm:bulletEnabled val="1"/>
        </dgm:presLayoutVars>
      </dgm:prSet>
      <dgm:spPr>
        <a:prstGeom prst="roundRect">
          <a:avLst/>
        </a:prstGeom>
      </dgm:spPr>
    </dgm:pt>
    <dgm:pt modelId="{0308B671-46A4-4978-932F-A4ADF4DE95A8}" type="pres">
      <dgm:prSet presAssocID="{4E8C8E72-6E8F-4856-8568-7518E2E80217}" presName="vSp" presStyleCnt="0"/>
      <dgm:spPr/>
    </dgm:pt>
    <dgm:pt modelId="{228686A2-68D7-4CDE-B7E4-E44DED015092}" type="pres">
      <dgm:prSet presAssocID="{544EB709-FA35-4118-989C-599F0742435F}" presName="horFlow" presStyleCnt="0"/>
      <dgm:spPr/>
    </dgm:pt>
    <dgm:pt modelId="{3F961F54-87CF-48E0-AD87-E7208935833D}" type="pres">
      <dgm:prSet presAssocID="{544EB709-FA35-4118-989C-599F0742435F}" presName="bigChev" presStyleLbl="node1" presStyleIdx="4" presStyleCnt="5" custScaleX="86408" custScaleY="99145" custLinFactNeighborX="-73986"/>
      <dgm:spPr/>
    </dgm:pt>
    <dgm:pt modelId="{5C55576A-4175-482A-B107-07441EA44E16}" type="pres">
      <dgm:prSet presAssocID="{361F0BE4-8A59-4F23-B016-6C3EC84C7DBA}" presName="parTrans" presStyleCnt="0"/>
      <dgm:spPr/>
    </dgm:pt>
    <dgm:pt modelId="{04360386-42B1-4BDF-ADEB-965B0A3CB126}" type="pres">
      <dgm:prSet presAssocID="{4267646C-139E-42F8-87FB-1CC318295C8C}" presName="node" presStyleLbl="alignAccFollowNode1" presStyleIdx="4" presStyleCnt="5" custScaleX="306032" custLinFactX="16776" custLinFactNeighborX="100000" custLinFactNeighborY="-4010">
        <dgm:presLayoutVars>
          <dgm:bulletEnabled val="1"/>
        </dgm:presLayoutVars>
      </dgm:prSet>
      <dgm:spPr>
        <a:prstGeom prst="roundRect">
          <a:avLst/>
        </a:prstGeom>
      </dgm:spPr>
    </dgm:pt>
  </dgm:ptLst>
  <dgm:cxnLst>
    <dgm:cxn modelId="{469CFB03-277B-4EC4-86AD-CAC27CCB8BAE}" srcId="{9AB117A4-BF43-47C1-B6AC-3EAA27418B0E}" destId="{10A26473-BB43-4320-BF96-EDB5023CD0B4}" srcOrd="0" destOrd="0" parTransId="{9A126F52-4910-4F8A-9F3B-3D28D3B5269D}" sibTransId="{689D50A9-9A1C-45AE-A7B1-A2297CB39BF6}"/>
    <dgm:cxn modelId="{948C640C-D00D-41F8-9655-530F737B1251}" type="presOf" srcId="{0148F482-6481-4939-9092-D60CEBDDF778}" destId="{83B03B8A-DF87-4E66-90C5-7C0D7A5591E9}" srcOrd="0" destOrd="0" presId="urn:microsoft.com/office/officeart/2005/8/layout/lProcess3"/>
    <dgm:cxn modelId="{FCFB4A19-BABB-405D-BF26-5A5AF451643E}" srcId="{9B725BE8-EF04-4850-83C9-8488530F0861}" destId="{C6765CDB-6200-4B37-8FBB-25CA5D951AE3}" srcOrd="0" destOrd="0" parTransId="{83AD22CA-552D-43FC-9344-01F66143EAF2}" sibTransId="{5229243E-F612-441D-BB47-259E08EFE69F}"/>
    <dgm:cxn modelId="{FB753E26-A626-4AD0-AFF7-B85890435192}" srcId="{544EB709-FA35-4118-989C-599F0742435F}" destId="{4267646C-139E-42F8-87FB-1CC318295C8C}" srcOrd="0" destOrd="0" parTransId="{361F0BE4-8A59-4F23-B016-6C3EC84C7DBA}" sibTransId="{2D6BAE95-76EF-4146-B09C-4925B181DD03}"/>
    <dgm:cxn modelId="{E5ED6227-435A-4E53-9F48-5623DCFBE3C3}" type="presOf" srcId="{4267646C-139E-42F8-87FB-1CC318295C8C}" destId="{04360386-42B1-4BDF-ADEB-965B0A3CB126}" srcOrd="0" destOrd="0" presId="urn:microsoft.com/office/officeart/2005/8/layout/lProcess3"/>
    <dgm:cxn modelId="{C5CAB128-29EA-42F9-8B24-7037B64E2F0D}" type="presOf" srcId="{10A26473-BB43-4320-BF96-EDB5023CD0B4}" destId="{30644EBE-E0D9-4096-AA7C-A7CAFEE2B2B9}" srcOrd="0" destOrd="0" presId="urn:microsoft.com/office/officeart/2005/8/layout/lProcess3"/>
    <dgm:cxn modelId="{60FE6138-49EC-40DD-A58B-5A65BB74667E}" type="presOf" srcId="{4E8C8E72-6E8F-4856-8568-7518E2E80217}" destId="{2CD631DE-7C4D-461D-822E-B7CE310726D3}" srcOrd="0" destOrd="0" presId="urn:microsoft.com/office/officeart/2005/8/layout/lProcess3"/>
    <dgm:cxn modelId="{3DE1803C-8DBB-4FAB-9C28-EFAEC4766C52}" srcId="{9AB117A4-BF43-47C1-B6AC-3EAA27418B0E}" destId="{3C6E7154-EFC2-4616-9C29-71D87F83FC2C}" srcOrd="2" destOrd="0" parTransId="{E1600A40-37B6-4408-BD13-5F6166FBF92C}" sibTransId="{EA05E7D2-AA0C-4E78-A27F-4D85380507AB}"/>
    <dgm:cxn modelId="{A7A50C47-A7D3-456F-B4A8-6BF866FA6849}" type="presOf" srcId="{9B725BE8-EF04-4850-83C9-8488530F0861}" destId="{23FFC388-76B0-4111-A20F-67AC1F1939BC}" srcOrd="0" destOrd="0" presId="urn:microsoft.com/office/officeart/2005/8/layout/lProcess3"/>
    <dgm:cxn modelId="{20A73955-71EE-47A3-988F-CAA08C97BDAC}" type="presOf" srcId="{544EB709-FA35-4118-989C-599F0742435F}" destId="{3F961F54-87CF-48E0-AD87-E7208935833D}" srcOrd="0" destOrd="0" presId="urn:microsoft.com/office/officeart/2005/8/layout/lProcess3"/>
    <dgm:cxn modelId="{E2988E7B-E1E7-4CA1-8AC1-FA75D5B659C9}" type="presOf" srcId="{C6765CDB-6200-4B37-8FBB-25CA5D951AE3}" destId="{51495109-2A4C-4E75-B818-140C45277A29}" srcOrd="0" destOrd="0" presId="urn:microsoft.com/office/officeart/2005/8/layout/lProcess3"/>
    <dgm:cxn modelId="{1829207C-B481-4FBD-966F-902DA50D1BA4}" type="presOf" srcId="{8D3EC394-0215-4AED-BCCA-D1DFA93ECAF5}" destId="{5C20EC90-B668-4F4F-9959-C13BF19EF1E6}" srcOrd="0" destOrd="0" presId="urn:microsoft.com/office/officeart/2005/8/layout/lProcess3"/>
    <dgm:cxn modelId="{21A90C87-2C07-4A45-888E-75401A4E4D56}" type="presOf" srcId="{0B831409-C989-49B8-9AF5-FA4B97DB04E4}" destId="{3B67F31C-895C-4C95-B4B7-1974116183AA}" srcOrd="0" destOrd="0" presId="urn:microsoft.com/office/officeart/2005/8/layout/lProcess3"/>
    <dgm:cxn modelId="{A738DF95-4DF6-460C-A4E1-7A8A8863EB31}" srcId="{3C6E7154-EFC2-4616-9C29-71D87F83FC2C}" destId="{0B831409-C989-49B8-9AF5-FA4B97DB04E4}" srcOrd="0" destOrd="0" parTransId="{48464E3F-8755-4A6D-8561-76A91257B8BA}" sibTransId="{58C69315-718E-40BA-B740-35E54090B687}"/>
    <dgm:cxn modelId="{ADC09AA3-699D-4F47-A488-3DC8975E7FD7}" srcId="{9AB117A4-BF43-47C1-B6AC-3EAA27418B0E}" destId="{4E8C8E72-6E8F-4856-8568-7518E2E80217}" srcOrd="3" destOrd="0" parTransId="{3977F5D0-B672-4B79-9D2D-D777F3871B0C}" sibTransId="{C41C5165-15BB-4FF7-BCF9-E10E9108A01E}"/>
    <dgm:cxn modelId="{9AD5DFAB-8D92-4A10-BF37-A9729A0DCABA}" srcId="{9AB117A4-BF43-47C1-B6AC-3EAA27418B0E}" destId="{9B725BE8-EF04-4850-83C9-8488530F0861}" srcOrd="1" destOrd="0" parTransId="{B2C4652D-CC59-413F-8822-67CD8CAB782C}" sibTransId="{5A26B088-3586-46B4-B1B9-7EAB6ABB48B4}"/>
    <dgm:cxn modelId="{E17CE3CB-8A06-4DC2-8AFD-18BC8258CA2D}" srcId="{10A26473-BB43-4320-BF96-EDB5023CD0B4}" destId="{0148F482-6481-4939-9092-D60CEBDDF778}" srcOrd="0" destOrd="0" parTransId="{15E19900-FAC8-4807-957B-6DCBD303065E}" sibTransId="{ED1DDF62-0169-4CCA-B524-F217054FBAE6}"/>
    <dgm:cxn modelId="{92CD03DC-1DB7-49CF-BE05-96A27413737D}" srcId="{9AB117A4-BF43-47C1-B6AC-3EAA27418B0E}" destId="{544EB709-FA35-4118-989C-599F0742435F}" srcOrd="4" destOrd="0" parTransId="{CC9DCC38-7B3F-4D9A-83E0-C785836CFD52}" sibTransId="{0F4DB3BC-0C64-47C6-A205-857D870C6B62}"/>
    <dgm:cxn modelId="{7BAF50DE-0CC1-415C-9A05-8A554A04F170}" type="presOf" srcId="{9AB117A4-BF43-47C1-B6AC-3EAA27418B0E}" destId="{EF10AD91-0B1D-4524-8957-18739C641989}" srcOrd="0" destOrd="0" presId="urn:microsoft.com/office/officeart/2005/8/layout/lProcess3"/>
    <dgm:cxn modelId="{4B0BB1E8-2D0E-4E3B-92B4-D7B55E11E850}" srcId="{4E8C8E72-6E8F-4856-8568-7518E2E80217}" destId="{8D3EC394-0215-4AED-BCCA-D1DFA93ECAF5}" srcOrd="0" destOrd="0" parTransId="{91294FBA-0EF9-467B-9B88-2D0226BDDE78}" sibTransId="{651BFE95-35A2-4416-A9EF-6A4AE0A3360C}"/>
    <dgm:cxn modelId="{8343CBE8-01D0-4020-BFBF-AAF1703744FA}" type="presOf" srcId="{3C6E7154-EFC2-4616-9C29-71D87F83FC2C}" destId="{56041DC9-3242-42BB-A184-6B1F32091E5F}" srcOrd="0" destOrd="0" presId="urn:microsoft.com/office/officeart/2005/8/layout/lProcess3"/>
    <dgm:cxn modelId="{2B00E7C4-36C1-488C-B6E9-3CC3277DA4E8}" type="presParOf" srcId="{EF10AD91-0B1D-4524-8957-18739C641989}" destId="{D821BDF3-FD8C-413F-9565-65C37B8B91DD}" srcOrd="0" destOrd="0" presId="urn:microsoft.com/office/officeart/2005/8/layout/lProcess3"/>
    <dgm:cxn modelId="{E85B797A-9BF9-49E9-A09D-2119BB3F7334}" type="presParOf" srcId="{D821BDF3-FD8C-413F-9565-65C37B8B91DD}" destId="{30644EBE-E0D9-4096-AA7C-A7CAFEE2B2B9}" srcOrd="0" destOrd="0" presId="urn:microsoft.com/office/officeart/2005/8/layout/lProcess3"/>
    <dgm:cxn modelId="{1DF153BC-7567-4AAD-B812-9671BE239B30}" type="presParOf" srcId="{D821BDF3-FD8C-413F-9565-65C37B8B91DD}" destId="{03034F8D-B39F-40DF-BE42-061FAE140FDD}" srcOrd="1" destOrd="0" presId="urn:microsoft.com/office/officeart/2005/8/layout/lProcess3"/>
    <dgm:cxn modelId="{D535C4FB-E9CD-4CA4-9D97-B2E67836EC99}" type="presParOf" srcId="{D821BDF3-FD8C-413F-9565-65C37B8B91DD}" destId="{83B03B8A-DF87-4E66-90C5-7C0D7A5591E9}" srcOrd="2" destOrd="0" presId="urn:microsoft.com/office/officeart/2005/8/layout/lProcess3"/>
    <dgm:cxn modelId="{17B1F513-D867-4A72-9241-C393A3A31E9C}" type="presParOf" srcId="{EF10AD91-0B1D-4524-8957-18739C641989}" destId="{FA891DCD-70C2-48B3-ADE8-887768FECE8D}" srcOrd="1" destOrd="0" presId="urn:microsoft.com/office/officeart/2005/8/layout/lProcess3"/>
    <dgm:cxn modelId="{BE3F8EBA-19FC-428A-A81E-AE04AFBD0072}" type="presParOf" srcId="{EF10AD91-0B1D-4524-8957-18739C641989}" destId="{26995041-8019-47DF-934B-94E728B4A315}" srcOrd="2" destOrd="0" presId="urn:microsoft.com/office/officeart/2005/8/layout/lProcess3"/>
    <dgm:cxn modelId="{ACC64DBB-3BB6-44C1-B7C8-20BCB3491C4A}" type="presParOf" srcId="{26995041-8019-47DF-934B-94E728B4A315}" destId="{23FFC388-76B0-4111-A20F-67AC1F1939BC}" srcOrd="0" destOrd="0" presId="urn:microsoft.com/office/officeart/2005/8/layout/lProcess3"/>
    <dgm:cxn modelId="{9580E8A9-23DF-40EF-A450-CBBCB4CD790C}" type="presParOf" srcId="{26995041-8019-47DF-934B-94E728B4A315}" destId="{A9406B62-B5B7-4DE0-B1E0-2F7732228410}" srcOrd="1" destOrd="0" presId="urn:microsoft.com/office/officeart/2005/8/layout/lProcess3"/>
    <dgm:cxn modelId="{9BCD6F78-8FC0-4675-82C9-B57EC4A292FF}" type="presParOf" srcId="{26995041-8019-47DF-934B-94E728B4A315}" destId="{51495109-2A4C-4E75-B818-140C45277A29}" srcOrd="2" destOrd="0" presId="urn:microsoft.com/office/officeart/2005/8/layout/lProcess3"/>
    <dgm:cxn modelId="{207A6B25-9797-48BE-BC77-E109338C284A}" type="presParOf" srcId="{EF10AD91-0B1D-4524-8957-18739C641989}" destId="{A84CC696-5508-49B3-A3C0-B7B6B2B6A4EF}" srcOrd="3" destOrd="0" presId="urn:microsoft.com/office/officeart/2005/8/layout/lProcess3"/>
    <dgm:cxn modelId="{DD37EA25-A935-4E1A-8215-E50E047AD759}" type="presParOf" srcId="{EF10AD91-0B1D-4524-8957-18739C641989}" destId="{4FD9D6C7-B31F-4190-B569-2587F0ED8E6C}" srcOrd="4" destOrd="0" presId="urn:microsoft.com/office/officeart/2005/8/layout/lProcess3"/>
    <dgm:cxn modelId="{4B20199B-428C-45E9-B911-CF6C20B65C95}" type="presParOf" srcId="{4FD9D6C7-B31F-4190-B569-2587F0ED8E6C}" destId="{56041DC9-3242-42BB-A184-6B1F32091E5F}" srcOrd="0" destOrd="0" presId="urn:microsoft.com/office/officeart/2005/8/layout/lProcess3"/>
    <dgm:cxn modelId="{F52B0C88-C921-4E5F-9906-44455B927EFB}" type="presParOf" srcId="{4FD9D6C7-B31F-4190-B569-2587F0ED8E6C}" destId="{CC97336C-102B-4EE4-AFB0-60345A867784}" srcOrd="1" destOrd="0" presId="urn:microsoft.com/office/officeart/2005/8/layout/lProcess3"/>
    <dgm:cxn modelId="{D0E2C980-25FD-4795-AE2C-5263B8C644BA}" type="presParOf" srcId="{4FD9D6C7-B31F-4190-B569-2587F0ED8E6C}" destId="{3B67F31C-895C-4C95-B4B7-1974116183AA}" srcOrd="2" destOrd="0" presId="urn:microsoft.com/office/officeart/2005/8/layout/lProcess3"/>
    <dgm:cxn modelId="{831E4B57-66A4-4DB9-B230-32C340E08EAE}" type="presParOf" srcId="{EF10AD91-0B1D-4524-8957-18739C641989}" destId="{85518932-C3E9-43CC-8837-42A73510434F}" srcOrd="5" destOrd="0" presId="urn:microsoft.com/office/officeart/2005/8/layout/lProcess3"/>
    <dgm:cxn modelId="{1D3EB6F4-418C-4C6A-96B8-6ACC1525413D}" type="presParOf" srcId="{EF10AD91-0B1D-4524-8957-18739C641989}" destId="{36D163F7-9148-4D3E-B364-41D51D6CB185}" srcOrd="6" destOrd="0" presId="urn:microsoft.com/office/officeart/2005/8/layout/lProcess3"/>
    <dgm:cxn modelId="{8E8E97D2-10BA-40FE-8563-C0CEAB21EB91}" type="presParOf" srcId="{36D163F7-9148-4D3E-B364-41D51D6CB185}" destId="{2CD631DE-7C4D-461D-822E-B7CE310726D3}" srcOrd="0" destOrd="0" presId="urn:microsoft.com/office/officeart/2005/8/layout/lProcess3"/>
    <dgm:cxn modelId="{57DA7EC8-334B-4B49-9068-939F6A53FB2D}" type="presParOf" srcId="{36D163F7-9148-4D3E-B364-41D51D6CB185}" destId="{EFA95083-D84F-42C3-BA00-1722E8981CED}" srcOrd="1" destOrd="0" presId="urn:microsoft.com/office/officeart/2005/8/layout/lProcess3"/>
    <dgm:cxn modelId="{08C9C2B4-D901-47AF-9274-3DF16DD4C1CF}" type="presParOf" srcId="{36D163F7-9148-4D3E-B364-41D51D6CB185}" destId="{5C20EC90-B668-4F4F-9959-C13BF19EF1E6}" srcOrd="2" destOrd="0" presId="urn:microsoft.com/office/officeart/2005/8/layout/lProcess3"/>
    <dgm:cxn modelId="{83B6A359-992E-4AC1-B1D7-D4E026272948}" type="presParOf" srcId="{EF10AD91-0B1D-4524-8957-18739C641989}" destId="{0308B671-46A4-4978-932F-A4ADF4DE95A8}" srcOrd="7" destOrd="0" presId="urn:microsoft.com/office/officeart/2005/8/layout/lProcess3"/>
    <dgm:cxn modelId="{ABE8E5BC-5A3B-4523-B68D-4A1C59B12DF2}" type="presParOf" srcId="{EF10AD91-0B1D-4524-8957-18739C641989}" destId="{228686A2-68D7-4CDE-B7E4-E44DED015092}" srcOrd="8" destOrd="0" presId="urn:microsoft.com/office/officeart/2005/8/layout/lProcess3"/>
    <dgm:cxn modelId="{B79433FC-3352-4F37-9DEA-EED0C9C30B8C}" type="presParOf" srcId="{228686A2-68D7-4CDE-B7E4-E44DED015092}" destId="{3F961F54-87CF-48E0-AD87-E7208935833D}" srcOrd="0" destOrd="0" presId="urn:microsoft.com/office/officeart/2005/8/layout/lProcess3"/>
    <dgm:cxn modelId="{85A3D00A-CFF6-4CBD-81F9-CDFA0651CE26}" type="presParOf" srcId="{228686A2-68D7-4CDE-B7E4-E44DED015092}" destId="{5C55576A-4175-482A-B107-07441EA44E16}" srcOrd="1" destOrd="0" presId="urn:microsoft.com/office/officeart/2005/8/layout/lProcess3"/>
    <dgm:cxn modelId="{EB4661C4-03F0-4A32-840A-A5775E6A0427}" type="presParOf" srcId="{228686A2-68D7-4CDE-B7E4-E44DED015092}" destId="{04360386-42B1-4BDF-ADEB-965B0A3CB126}" srcOrd="2" destOrd="0" presId="urn:microsoft.com/office/officeart/2005/8/layout/l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6E8BD-8ED4-449F-A048-9CEAFEEBA271}">
      <dsp:nvSpPr>
        <dsp:cNvPr id="0" name=""/>
        <dsp:cNvSpPr/>
      </dsp:nvSpPr>
      <dsp:spPr>
        <a:xfrm rot="5400000">
          <a:off x="-503744" y="503744"/>
          <a:ext cx="3358298" cy="2350808"/>
        </a:xfrm>
        <a:prstGeom prst="chevron">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lang="el-GR" sz="2400" kern="1200" dirty="0"/>
            <a:t>Τα προβλήματα στον τομέα της υγείας σήμερα:</a:t>
          </a:r>
          <a:endParaRPr lang="en-GB" sz="2400" kern="1200" dirty="0"/>
        </a:p>
      </dsp:txBody>
      <dsp:txXfrm rot="-5400000">
        <a:off x="1" y="1175403"/>
        <a:ext cx="2350808" cy="1007490"/>
      </dsp:txXfrm>
    </dsp:sp>
    <dsp:sp modelId="{3A4A7178-2121-49A5-B17C-685418218E06}">
      <dsp:nvSpPr>
        <dsp:cNvPr id="0" name=""/>
        <dsp:cNvSpPr/>
      </dsp:nvSpPr>
      <dsp:spPr>
        <a:xfrm rot="5400000">
          <a:off x="4165419" y="-1814611"/>
          <a:ext cx="2182893" cy="5812116"/>
        </a:xfrm>
        <a:prstGeom prst="round2SameRect">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6464" tIns="13970" rIns="13970" bIns="13970" numCol="1" spcCol="1270" anchor="ctr" anchorCtr="0">
          <a:noAutofit/>
        </a:bodyPr>
        <a:lstStyle/>
        <a:p>
          <a:pPr marL="228600" lvl="1" indent="-228600" algn="l" defTabSz="977900">
            <a:lnSpc>
              <a:spcPct val="90000"/>
            </a:lnSpc>
            <a:spcBef>
              <a:spcPct val="0"/>
            </a:spcBef>
            <a:spcAft>
              <a:spcPct val="15000"/>
            </a:spcAft>
            <a:buChar char="•"/>
          </a:pPr>
          <a:r>
            <a:rPr lang="el-GR" sz="2200" kern="1200" dirty="0"/>
            <a:t>Απουσία καθολικής κάλυψης &amp; ισότιμης πρόσβασης</a:t>
          </a:r>
          <a:endParaRPr lang="en-GB" sz="2200" kern="1200" dirty="0"/>
        </a:p>
        <a:p>
          <a:pPr marL="228600" lvl="1" indent="-228600" algn="l" defTabSz="977900">
            <a:lnSpc>
              <a:spcPct val="90000"/>
            </a:lnSpc>
            <a:spcBef>
              <a:spcPct val="0"/>
            </a:spcBef>
            <a:spcAft>
              <a:spcPct val="15000"/>
            </a:spcAft>
            <a:buChar char="•"/>
          </a:pPr>
          <a:r>
            <a:rPr lang="el-GR" sz="2200" kern="1200" dirty="0"/>
            <a:t>Πολύ ψηλό % δαπανών καταβάλλεται απευθείας από τους ασθενείς</a:t>
          </a:r>
          <a:endParaRPr lang="en-GB" sz="2200" kern="1200" dirty="0"/>
        </a:p>
        <a:p>
          <a:pPr marL="228600" lvl="1" indent="-228600" algn="l" defTabSz="977900">
            <a:lnSpc>
              <a:spcPct val="90000"/>
            </a:lnSpc>
            <a:spcBef>
              <a:spcPct val="0"/>
            </a:spcBef>
            <a:spcAft>
              <a:spcPct val="15000"/>
            </a:spcAft>
            <a:buChar char="•"/>
          </a:pPr>
          <a:r>
            <a:rPr lang="el-GR" sz="2200" kern="1200" dirty="0"/>
            <a:t>Υπερφόρτωση δημόσιου τομέα</a:t>
          </a:r>
          <a:endParaRPr lang="en-GB" sz="2200" kern="1200" dirty="0"/>
        </a:p>
        <a:p>
          <a:pPr marL="228600" lvl="1" indent="-228600" algn="l" defTabSz="977900">
            <a:lnSpc>
              <a:spcPct val="90000"/>
            </a:lnSpc>
            <a:spcBef>
              <a:spcPct val="0"/>
            </a:spcBef>
            <a:spcAft>
              <a:spcPct val="15000"/>
            </a:spcAft>
            <a:buChar char="•"/>
          </a:pPr>
          <a:r>
            <a:rPr lang="el-GR" sz="2200" kern="1200" dirty="0"/>
            <a:t>Διπλές υποδομές και σπατάλη πόρων</a:t>
          </a:r>
          <a:endParaRPr lang="en-GB" sz="2200" kern="1200" dirty="0"/>
        </a:p>
      </dsp:txBody>
      <dsp:txXfrm rot="-5400000">
        <a:off x="2350808" y="106560"/>
        <a:ext cx="5705556" cy="196977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59A4F6-F4A5-4189-AFC9-98CE032E39D9}">
      <dsp:nvSpPr>
        <dsp:cNvPr id="0" name=""/>
        <dsp:cNvSpPr/>
      </dsp:nvSpPr>
      <dsp:spPr>
        <a:xfrm>
          <a:off x="258727" y="322682"/>
          <a:ext cx="2289460" cy="1444588"/>
        </a:xfrm>
        <a:prstGeom prst="homePlat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el-GR" sz="1600" b="1" kern="1200" dirty="0"/>
            <a:t>Απευθείας </a:t>
          </a:r>
        </a:p>
        <a:p>
          <a:pPr marL="0" lvl="0" indent="0" algn="ctr" defTabSz="711200">
            <a:lnSpc>
              <a:spcPct val="90000"/>
            </a:lnSpc>
            <a:spcBef>
              <a:spcPct val="0"/>
            </a:spcBef>
            <a:spcAft>
              <a:spcPct val="35000"/>
            </a:spcAft>
            <a:buNone/>
          </a:pPr>
          <a:r>
            <a:rPr lang="el-GR" sz="1600" b="1" kern="1200" dirty="0"/>
            <a:t>πρόσβαση </a:t>
          </a:r>
        </a:p>
      </dsp:txBody>
      <dsp:txXfrm>
        <a:off x="258727" y="322682"/>
        <a:ext cx="2289460" cy="1444588"/>
      </dsp:txXfrm>
    </dsp:sp>
    <dsp:sp modelId="{ACD141A2-0F72-4EC4-BB07-8777D6440644}">
      <dsp:nvSpPr>
        <dsp:cNvPr id="0" name=""/>
        <dsp:cNvSpPr/>
      </dsp:nvSpPr>
      <dsp:spPr>
        <a:xfrm>
          <a:off x="2730120" y="20033"/>
          <a:ext cx="5505054" cy="2298036"/>
        </a:xfrm>
        <a:prstGeom prst="rect">
          <a:avLst/>
        </a:prstGeom>
        <a:solidFill>
          <a:schemeClr val="accent6">
            <a:lumMod val="20000"/>
            <a:lumOff val="80000"/>
            <a:alpha val="9000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marL="0" lvl="0" indent="0" algn="l" defTabSz="800100">
            <a:lnSpc>
              <a:spcPct val="90000"/>
            </a:lnSpc>
            <a:spcBef>
              <a:spcPct val="0"/>
            </a:spcBef>
            <a:spcAft>
              <a:spcPct val="35000"/>
            </a:spcAft>
            <a:buNone/>
          </a:pPr>
          <a:r>
            <a:rPr lang="el-GR" sz="1800" kern="1200" dirty="0"/>
            <a:t>- Προσωπικοί Ιατροί</a:t>
          </a:r>
        </a:p>
        <a:p>
          <a:pPr marL="0" lvl="0" indent="0" algn="l" defTabSz="800100">
            <a:lnSpc>
              <a:spcPct val="90000"/>
            </a:lnSpc>
            <a:spcBef>
              <a:spcPct val="0"/>
            </a:spcBef>
            <a:spcAft>
              <a:spcPct val="35000"/>
            </a:spcAft>
            <a:buNone/>
          </a:pPr>
          <a:r>
            <a:rPr lang="el-GR" sz="1800" kern="1200" dirty="0"/>
            <a:t>- Γυναικολόγοι (Γυναίκες που έχουν συμπληρώσει το 15ο έτος της ηλικίας τους)*</a:t>
          </a:r>
        </a:p>
        <a:p>
          <a:pPr marL="0" lvl="0" indent="0" algn="l" defTabSz="800100">
            <a:lnSpc>
              <a:spcPct val="90000"/>
            </a:lnSpc>
            <a:spcBef>
              <a:spcPct val="0"/>
            </a:spcBef>
            <a:spcAft>
              <a:spcPct val="35000"/>
            </a:spcAft>
            <a:buNone/>
          </a:pPr>
          <a:r>
            <a:rPr lang="el-GR" sz="1800" kern="1200" dirty="0"/>
            <a:t>- Τμήματα Ατυχημάτων και Επειγόντων Περιστατικών* </a:t>
          </a:r>
        </a:p>
        <a:p>
          <a:pPr marL="0" lvl="0" indent="0" algn="l" defTabSz="800100">
            <a:lnSpc>
              <a:spcPct val="90000"/>
            </a:lnSpc>
            <a:spcBef>
              <a:spcPct val="0"/>
            </a:spcBef>
            <a:spcAft>
              <a:spcPct val="35000"/>
            </a:spcAft>
            <a:buNone/>
          </a:pPr>
          <a:r>
            <a:rPr lang="el-GR" sz="1800" kern="1200" dirty="0"/>
            <a:t>- Οδοντίατροι για προληπτική οδοντιατρική φροντίδα</a:t>
          </a:r>
        </a:p>
        <a:p>
          <a:pPr marL="0" lvl="0" indent="0" algn="l" defTabSz="800100">
            <a:lnSpc>
              <a:spcPct val="90000"/>
            </a:lnSpc>
            <a:spcBef>
              <a:spcPct val="0"/>
            </a:spcBef>
            <a:spcAft>
              <a:spcPct val="35000"/>
            </a:spcAft>
            <a:buNone/>
          </a:pPr>
          <a:r>
            <a:rPr lang="el-GR" sz="1800" kern="1200" dirty="0"/>
            <a:t>- Ασθενοφόρα</a:t>
          </a:r>
          <a:endParaRPr lang="en-GB" sz="1800" kern="1200" dirty="0"/>
        </a:p>
      </dsp:txBody>
      <dsp:txXfrm>
        <a:off x="2730120" y="20033"/>
        <a:ext cx="5505054" cy="2298036"/>
      </dsp:txXfrm>
    </dsp:sp>
    <dsp:sp modelId="{29454C26-B0E7-4228-8420-B10FEB86CA3C}">
      <dsp:nvSpPr>
        <dsp:cNvPr id="0" name=""/>
        <dsp:cNvSpPr/>
      </dsp:nvSpPr>
      <dsp:spPr>
        <a:xfrm>
          <a:off x="329698" y="2830367"/>
          <a:ext cx="2134429" cy="1442905"/>
        </a:xfrm>
        <a:prstGeom prst="homePlat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el-GR" sz="1600" b="1" kern="1200" dirty="0"/>
            <a:t>Πρόσβαση μετά από εξασφάλιση παραπεμπτικού</a:t>
          </a:r>
          <a:endParaRPr lang="en-GB" sz="1600" b="1" kern="1200" dirty="0"/>
        </a:p>
      </dsp:txBody>
      <dsp:txXfrm>
        <a:off x="329698" y="2830367"/>
        <a:ext cx="2134429" cy="1442905"/>
      </dsp:txXfrm>
    </dsp:sp>
    <dsp:sp modelId="{D83BF629-AED7-41D4-B51E-1944D37A49FC}">
      <dsp:nvSpPr>
        <dsp:cNvPr id="0" name=""/>
        <dsp:cNvSpPr/>
      </dsp:nvSpPr>
      <dsp:spPr>
        <a:xfrm>
          <a:off x="2725539" y="2485927"/>
          <a:ext cx="5549738" cy="2043170"/>
        </a:xfrm>
        <a:prstGeom prst="rect">
          <a:avLst/>
        </a:prstGeom>
        <a:solidFill>
          <a:schemeClr val="accent6">
            <a:lumMod val="20000"/>
            <a:lumOff val="80000"/>
            <a:alpha val="9000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marL="0" lvl="0" indent="0" algn="l" defTabSz="800100">
            <a:lnSpc>
              <a:spcPct val="90000"/>
            </a:lnSpc>
            <a:spcBef>
              <a:spcPct val="0"/>
            </a:spcBef>
            <a:spcAft>
              <a:spcPct val="35000"/>
            </a:spcAft>
            <a:buNone/>
          </a:pPr>
          <a:endParaRPr lang="el-GR" sz="1800" kern="1200" dirty="0"/>
        </a:p>
        <a:p>
          <a:pPr marL="0" lvl="0" indent="0" algn="l" defTabSz="800100">
            <a:lnSpc>
              <a:spcPct val="90000"/>
            </a:lnSpc>
            <a:spcBef>
              <a:spcPct val="0"/>
            </a:spcBef>
            <a:spcAft>
              <a:spcPct val="35000"/>
            </a:spcAft>
            <a:buNone/>
          </a:pPr>
          <a:r>
            <a:rPr lang="el-GR" sz="1800" kern="1200" dirty="0"/>
            <a:t>- Ειδικοί Ιατροί*</a:t>
          </a:r>
        </a:p>
        <a:p>
          <a:pPr marL="0" lvl="0" indent="0" algn="l" defTabSz="800100">
            <a:lnSpc>
              <a:spcPct val="90000"/>
            </a:lnSpc>
            <a:spcBef>
              <a:spcPct val="0"/>
            </a:spcBef>
            <a:spcAft>
              <a:spcPct val="35000"/>
            </a:spcAft>
            <a:buNone/>
          </a:pPr>
          <a:r>
            <a:rPr lang="el-GR" sz="1800" kern="1200" dirty="0"/>
            <a:t>- Εργαστήρια*</a:t>
          </a:r>
        </a:p>
        <a:p>
          <a:pPr marL="0" lvl="0" indent="0" algn="l" defTabSz="800100">
            <a:lnSpc>
              <a:spcPct val="90000"/>
            </a:lnSpc>
            <a:spcBef>
              <a:spcPct val="0"/>
            </a:spcBef>
            <a:spcAft>
              <a:spcPct val="35000"/>
            </a:spcAft>
            <a:buNone/>
          </a:pPr>
          <a:r>
            <a:rPr lang="el-GR" sz="1800" kern="1200" dirty="0"/>
            <a:t>- Φαρμακεία*</a:t>
          </a:r>
        </a:p>
        <a:p>
          <a:pPr marL="0" lvl="0" indent="0" algn="l" defTabSz="800100">
            <a:lnSpc>
              <a:spcPct val="90000"/>
            </a:lnSpc>
            <a:spcBef>
              <a:spcPct val="0"/>
            </a:spcBef>
            <a:spcAft>
              <a:spcPct val="35000"/>
            </a:spcAft>
            <a:buNone/>
          </a:pPr>
          <a:r>
            <a:rPr lang="el-GR" sz="1800" kern="1200" dirty="0"/>
            <a:t>- Νοσηλευτές, Μαίες και Άλλοι Επαγγελματίες Υγείας*</a:t>
          </a:r>
        </a:p>
        <a:p>
          <a:pPr marL="0" lvl="0" indent="0" algn="l" defTabSz="800100">
            <a:lnSpc>
              <a:spcPct val="90000"/>
            </a:lnSpc>
            <a:spcBef>
              <a:spcPct val="0"/>
            </a:spcBef>
            <a:spcAft>
              <a:spcPct val="35000"/>
            </a:spcAft>
            <a:buNone/>
          </a:pPr>
          <a:r>
            <a:rPr lang="el-GR" sz="1800" kern="1200" dirty="0"/>
            <a:t>- Νοσηλευτήρια</a:t>
          </a:r>
        </a:p>
        <a:p>
          <a:pPr marL="0" lvl="0" indent="0" algn="l" defTabSz="800100">
            <a:lnSpc>
              <a:spcPct val="90000"/>
            </a:lnSpc>
            <a:spcBef>
              <a:spcPct val="0"/>
            </a:spcBef>
            <a:spcAft>
              <a:spcPct val="35000"/>
            </a:spcAft>
            <a:buNone/>
          </a:pPr>
          <a:endParaRPr lang="en-GB" sz="1800" b="0" kern="1200" dirty="0"/>
        </a:p>
      </dsp:txBody>
      <dsp:txXfrm>
        <a:off x="2725539" y="2485927"/>
        <a:ext cx="5549738" cy="2043170"/>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83B766-4091-4536-97DF-135120C6BDA9}">
      <dsp:nvSpPr>
        <dsp:cNvPr id="0" name=""/>
        <dsp:cNvSpPr/>
      </dsp:nvSpPr>
      <dsp:spPr>
        <a:xfrm rot="5400000">
          <a:off x="4586322" y="-1685205"/>
          <a:ext cx="1208029" cy="4885022"/>
        </a:xfrm>
        <a:prstGeom prst="round2SameRect">
          <a:avLst/>
        </a:prstGeom>
        <a:solidFill>
          <a:schemeClr val="accent6">
            <a:alpha val="90000"/>
            <a:tint val="40000"/>
            <a:hueOff val="0"/>
            <a:satOff val="0"/>
            <a:lumOff val="0"/>
            <a:alphaOff val="0"/>
          </a:schemeClr>
        </a:solidFill>
        <a:ln w="9525" cap="flat" cmpd="sng" algn="ctr">
          <a:solidFill>
            <a:schemeClr val="accent6">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l-GR" sz="1800" kern="1200" dirty="0"/>
            <a:t>Όλοι οι δικαιούχοι  είναι ελεύθεροι να επιλέξουν τον ΠΙ τους και να εγγραφούν στον κατάλογό του</a:t>
          </a:r>
          <a:endParaRPr lang="en-GB" sz="1800" b="0" kern="1200" dirty="0"/>
        </a:p>
      </dsp:txBody>
      <dsp:txXfrm rot="-5400000">
        <a:off x="2747826" y="212262"/>
        <a:ext cx="4826051" cy="1090087"/>
      </dsp:txXfrm>
    </dsp:sp>
    <dsp:sp modelId="{DF8D6AEA-F821-4F6B-8D41-3376DDF84BEA}">
      <dsp:nvSpPr>
        <dsp:cNvPr id="0" name=""/>
        <dsp:cNvSpPr/>
      </dsp:nvSpPr>
      <dsp:spPr>
        <a:xfrm>
          <a:off x="0" y="2287"/>
          <a:ext cx="2747825" cy="1510036"/>
        </a:xfrm>
        <a:prstGeom prst="roundRect">
          <a:avLst/>
        </a:prstGeom>
        <a:solidFill>
          <a:schemeClr val="bg1"/>
        </a:solidFill>
        <a:ln w="19050">
          <a:solidFill>
            <a:schemeClr val="accent6"/>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l-GR" sz="2000" b="1" kern="1200" dirty="0">
              <a:solidFill>
                <a:schemeClr val="tx1"/>
              </a:solidFill>
            </a:rPr>
            <a:t>Ελεύθερη επιλογή ΠΙ</a:t>
          </a:r>
          <a:endParaRPr lang="en-GB" sz="2000" b="1" kern="1200" dirty="0">
            <a:solidFill>
              <a:schemeClr val="tx1"/>
            </a:solidFill>
          </a:endParaRPr>
        </a:p>
      </dsp:txBody>
      <dsp:txXfrm>
        <a:off x="73714" y="76001"/>
        <a:ext cx="2600397" cy="1362608"/>
      </dsp:txXfrm>
    </dsp:sp>
    <dsp:sp modelId="{B52EA9FF-D12C-451F-B441-CFF03467AAEB}">
      <dsp:nvSpPr>
        <dsp:cNvPr id="0" name=""/>
        <dsp:cNvSpPr/>
      </dsp:nvSpPr>
      <dsp:spPr>
        <a:xfrm rot="5400000">
          <a:off x="4586322" y="-99666"/>
          <a:ext cx="1208029" cy="4885022"/>
        </a:xfrm>
        <a:prstGeom prst="round2SameRect">
          <a:avLst/>
        </a:prstGeom>
        <a:solidFill>
          <a:schemeClr val="accent6">
            <a:alpha val="90000"/>
            <a:tint val="40000"/>
            <a:hueOff val="0"/>
            <a:satOff val="0"/>
            <a:lumOff val="0"/>
            <a:alphaOff val="0"/>
          </a:schemeClr>
        </a:solidFill>
        <a:ln w="9525" cap="flat" cmpd="sng" algn="ctr">
          <a:solidFill>
            <a:schemeClr val="accent6">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l-GR" sz="1800" kern="1200" dirty="0"/>
            <a:t>Οι δικαιούχοι μπορούν να αλλάζουν τον ΠΙ τους μετά την παρέλευση 6 μηνών από την προηγούμενη εγγραφή τους σε ΠΙ</a:t>
          </a:r>
          <a:endParaRPr lang="en-GB" sz="1800" kern="1200" dirty="0"/>
        </a:p>
      </dsp:txBody>
      <dsp:txXfrm rot="-5400000">
        <a:off x="2747826" y="1797801"/>
        <a:ext cx="4826051" cy="1090087"/>
      </dsp:txXfrm>
    </dsp:sp>
    <dsp:sp modelId="{4F5A9B82-5578-4B20-8DDB-BD7E9BF7768E}">
      <dsp:nvSpPr>
        <dsp:cNvPr id="0" name=""/>
        <dsp:cNvSpPr/>
      </dsp:nvSpPr>
      <dsp:spPr>
        <a:xfrm>
          <a:off x="0" y="1587826"/>
          <a:ext cx="2747825" cy="1510036"/>
        </a:xfrm>
        <a:prstGeom prst="roundRect">
          <a:avLst/>
        </a:prstGeom>
        <a:solidFill>
          <a:schemeClr val="bg1"/>
        </a:solidFill>
        <a:ln w="19050">
          <a:solidFill>
            <a:schemeClr val="accent6"/>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l-GR" sz="2000" b="1" kern="1200" dirty="0">
              <a:solidFill>
                <a:schemeClr val="tx1"/>
              </a:solidFill>
            </a:rPr>
            <a:t>Αλλαγή ΠΙ</a:t>
          </a:r>
          <a:endParaRPr lang="en-GB" sz="2000" b="1" kern="1200" dirty="0">
            <a:solidFill>
              <a:schemeClr val="tx1"/>
            </a:solidFill>
          </a:endParaRPr>
        </a:p>
      </dsp:txBody>
      <dsp:txXfrm>
        <a:off x="73714" y="1661540"/>
        <a:ext cx="2600397" cy="1362608"/>
      </dsp:txXfrm>
    </dsp:sp>
    <dsp:sp modelId="{B8836E61-D180-47E1-AAA2-5F727912FAD1}">
      <dsp:nvSpPr>
        <dsp:cNvPr id="0" name=""/>
        <dsp:cNvSpPr/>
      </dsp:nvSpPr>
      <dsp:spPr>
        <a:xfrm rot="5400000">
          <a:off x="4586322" y="1485871"/>
          <a:ext cx="1208029" cy="4885022"/>
        </a:xfrm>
        <a:prstGeom prst="round2SameRect">
          <a:avLst/>
        </a:prstGeom>
        <a:solidFill>
          <a:schemeClr val="accent6">
            <a:alpha val="90000"/>
            <a:tint val="40000"/>
            <a:hueOff val="0"/>
            <a:satOff val="0"/>
            <a:lumOff val="0"/>
            <a:alphaOff val="0"/>
          </a:schemeClr>
        </a:solidFill>
        <a:ln w="9525" cap="flat" cmpd="sng" algn="ctr">
          <a:solidFill>
            <a:schemeClr val="accent6">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71450" lvl="1" indent="-171450" algn="l" defTabSz="800100">
            <a:lnSpc>
              <a:spcPct val="90000"/>
            </a:lnSpc>
            <a:spcBef>
              <a:spcPct val="0"/>
            </a:spcBef>
            <a:spcAft>
              <a:spcPct val="15000"/>
            </a:spcAft>
            <a:buChar char="•"/>
          </a:pPr>
          <a:r>
            <a:rPr lang="el-GR" sz="1800" kern="1200" dirty="0"/>
            <a:t>Οι ΠΙ θα μπορούν να έχουν εγγεγραμμένους μέχρι 2500 δικαιούχους στον κατάλογό τους </a:t>
          </a:r>
          <a:endParaRPr lang="en-GB" sz="1800" kern="1200" dirty="0"/>
        </a:p>
      </dsp:txBody>
      <dsp:txXfrm rot="-5400000">
        <a:off x="2747826" y="3383339"/>
        <a:ext cx="4826051" cy="1090087"/>
      </dsp:txXfrm>
    </dsp:sp>
    <dsp:sp modelId="{E81FCBE1-AA98-4C5D-AB45-ECEE9291A991}">
      <dsp:nvSpPr>
        <dsp:cNvPr id="0" name=""/>
        <dsp:cNvSpPr/>
      </dsp:nvSpPr>
      <dsp:spPr>
        <a:xfrm>
          <a:off x="0" y="3173364"/>
          <a:ext cx="2747825" cy="1510036"/>
        </a:xfrm>
        <a:prstGeom prst="roundRect">
          <a:avLst/>
        </a:prstGeom>
        <a:solidFill>
          <a:schemeClr val="bg1"/>
        </a:solidFill>
        <a:ln w="19050">
          <a:solidFill>
            <a:schemeClr val="accent6"/>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76200" tIns="38100" rIns="76200" bIns="38100" numCol="1" spcCol="1270" anchor="ctr" anchorCtr="0">
          <a:noAutofit/>
        </a:bodyPr>
        <a:lstStyle/>
        <a:p>
          <a:pPr marL="0" lvl="0" indent="0" algn="ctr" defTabSz="889000">
            <a:lnSpc>
              <a:spcPct val="90000"/>
            </a:lnSpc>
            <a:spcBef>
              <a:spcPct val="0"/>
            </a:spcBef>
            <a:spcAft>
              <a:spcPct val="35000"/>
            </a:spcAft>
            <a:buNone/>
          </a:pPr>
          <a:r>
            <a:rPr lang="el-GR" sz="2000" b="1" kern="1200" dirty="0">
              <a:solidFill>
                <a:schemeClr val="tx1"/>
              </a:solidFill>
            </a:rPr>
            <a:t>Μέγιστος αριθμός δικαιούχων ανά ΠΙ</a:t>
          </a:r>
          <a:endParaRPr lang="en-GB" sz="2000" b="1" kern="1200" dirty="0">
            <a:solidFill>
              <a:schemeClr val="tx1"/>
            </a:solidFill>
          </a:endParaRPr>
        </a:p>
      </dsp:txBody>
      <dsp:txXfrm>
        <a:off x="73714" y="3247078"/>
        <a:ext cx="2600397" cy="1362608"/>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59A4F6-F4A5-4189-AFC9-98CE032E39D9}">
      <dsp:nvSpPr>
        <dsp:cNvPr id="0" name=""/>
        <dsp:cNvSpPr/>
      </dsp:nvSpPr>
      <dsp:spPr>
        <a:xfrm>
          <a:off x="206570" y="0"/>
          <a:ext cx="3223454" cy="2036805"/>
        </a:xfrm>
        <a:prstGeom prst="homePlat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l-GR" sz="1400" b="1" kern="1200" dirty="0"/>
            <a:t>ΣΤΟΧΟΙ ΕΦΑΡΜΟΓΗΣ ΤΗΣ ΠΡΑΚΤΙΚΗΣ ΤΩΝ ΣΥΜΠΛΗΡΩΜΩΝ</a:t>
          </a:r>
          <a:endParaRPr lang="en-GB" sz="1400" b="1" kern="1200" dirty="0"/>
        </a:p>
      </dsp:txBody>
      <dsp:txXfrm>
        <a:off x="206570" y="0"/>
        <a:ext cx="3223454" cy="2036805"/>
      </dsp:txXfrm>
    </dsp:sp>
    <dsp:sp modelId="{ACD141A2-0F72-4EC4-BB07-8777D6440644}">
      <dsp:nvSpPr>
        <dsp:cNvPr id="0" name=""/>
        <dsp:cNvSpPr/>
      </dsp:nvSpPr>
      <dsp:spPr>
        <a:xfrm>
          <a:off x="3007959" y="277903"/>
          <a:ext cx="5647090" cy="1538520"/>
        </a:xfrm>
        <a:prstGeom prst="rect">
          <a:avLst/>
        </a:prstGeom>
        <a:solidFill>
          <a:schemeClr val="bg1">
            <a:alpha val="9000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8890" rIns="0" bIns="8890" numCol="1" spcCol="1270" anchor="ctr" anchorCtr="0">
          <a:noAutofit/>
        </a:bodyPr>
        <a:lstStyle/>
        <a:p>
          <a:pPr marL="0" lvl="0" indent="0" algn="l" defTabSz="622300">
            <a:lnSpc>
              <a:spcPct val="90000"/>
            </a:lnSpc>
            <a:spcBef>
              <a:spcPct val="0"/>
            </a:spcBef>
            <a:spcAft>
              <a:spcPct val="35000"/>
            </a:spcAft>
            <a:buNone/>
          </a:pPr>
          <a:endParaRPr lang="en-GB" sz="1400" kern="1200" dirty="0"/>
        </a:p>
      </dsp:txBody>
      <dsp:txXfrm>
        <a:off x="3007959" y="277903"/>
        <a:ext cx="5647090" cy="1538520"/>
      </dsp:txXfrm>
    </dsp:sp>
    <dsp:sp modelId="{29454C26-B0E7-4228-8420-B10FEB86CA3C}">
      <dsp:nvSpPr>
        <dsp:cNvPr id="0" name=""/>
        <dsp:cNvSpPr/>
      </dsp:nvSpPr>
      <dsp:spPr>
        <a:xfrm>
          <a:off x="195103" y="2156223"/>
          <a:ext cx="3099640" cy="1909861"/>
        </a:xfrm>
        <a:prstGeom prst="homePlate">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8890" rIns="0" bIns="8890" numCol="1" spcCol="1270" anchor="ctr" anchorCtr="0">
          <a:noAutofit/>
        </a:bodyPr>
        <a:lstStyle/>
        <a:p>
          <a:pPr marL="0" lvl="0" indent="0" algn="ctr" defTabSz="622300">
            <a:lnSpc>
              <a:spcPct val="90000"/>
            </a:lnSpc>
            <a:spcBef>
              <a:spcPct val="0"/>
            </a:spcBef>
            <a:spcAft>
              <a:spcPct val="35000"/>
            </a:spcAft>
            <a:buNone/>
          </a:pPr>
          <a:r>
            <a:rPr lang="el-GR" sz="1400" b="1" kern="1200" dirty="0">
              <a:solidFill>
                <a:schemeClr val="tx1"/>
              </a:solidFill>
            </a:rPr>
            <a:t>ΔΙΑΣΦΑΛΙΣΗ ΣΤΗΝ ΠΡΟΣΒΑΣΗ</a:t>
          </a:r>
          <a:endParaRPr lang="en-GB" sz="1400" b="1" kern="1200" dirty="0">
            <a:solidFill>
              <a:schemeClr val="tx1"/>
            </a:solidFill>
          </a:endParaRPr>
        </a:p>
      </dsp:txBody>
      <dsp:txXfrm>
        <a:off x="195103" y="2156223"/>
        <a:ext cx="3099640" cy="1909861"/>
      </dsp:txXfrm>
    </dsp:sp>
    <dsp:sp modelId="{D83BF629-AED7-41D4-B51E-1944D37A49FC}">
      <dsp:nvSpPr>
        <dsp:cNvPr id="0" name=""/>
        <dsp:cNvSpPr/>
      </dsp:nvSpPr>
      <dsp:spPr>
        <a:xfrm>
          <a:off x="2953648" y="1962278"/>
          <a:ext cx="5701401" cy="1983936"/>
        </a:xfrm>
        <a:prstGeom prst="rect">
          <a:avLst/>
        </a:prstGeom>
        <a:solidFill>
          <a:schemeClr val="bg1">
            <a:alpha val="9000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700" tIns="6350" rIns="0" bIns="6350" numCol="1" spcCol="1270" anchor="ctr" anchorCtr="0">
          <a:noAutofit/>
        </a:bodyPr>
        <a:lstStyle/>
        <a:p>
          <a:pPr marL="0" lvl="0" indent="0" algn="l" defTabSz="444500">
            <a:lnSpc>
              <a:spcPct val="90000"/>
            </a:lnSpc>
            <a:spcBef>
              <a:spcPct val="0"/>
            </a:spcBef>
            <a:spcAft>
              <a:spcPct val="35000"/>
            </a:spcAft>
            <a:buNone/>
          </a:pPr>
          <a:endParaRPr lang="en-GB" sz="1000" b="0" kern="1200" dirty="0"/>
        </a:p>
      </dsp:txBody>
      <dsp:txXfrm>
        <a:off x="2953648" y="1962278"/>
        <a:ext cx="5701401" cy="198393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DEE548-0BA8-4ECC-BDCC-50BFD3A25E20}">
      <dsp:nvSpPr>
        <dsp:cNvPr id="0" name=""/>
        <dsp:cNvSpPr/>
      </dsp:nvSpPr>
      <dsp:spPr>
        <a:xfrm>
          <a:off x="0" y="601541"/>
          <a:ext cx="8049259" cy="2494800"/>
        </a:xfrm>
        <a:prstGeom prst="rect">
          <a:avLst/>
        </a:prstGeom>
        <a:solidFill>
          <a:schemeClr val="lt1">
            <a:alpha val="90000"/>
            <a:hueOff val="0"/>
            <a:satOff val="0"/>
            <a:lumOff val="0"/>
            <a:alphaOff val="0"/>
          </a:schemeClr>
        </a:solidFill>
        <a:ln w="25400" cap="flat" cmpd="sng" algn="ctr">
          <a:solidFill>
            <a:schemeClr val="accent6">
              <a:lumMod val="40000"/>
              <a:lumOff val="6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24712" tIns="499872" rIns="624712" bIns="170688" numCol="1" spcCol="1270" anchor="t" anchorCtr="0">
          <a:noAutofit/>
        </a:bodyPr>
        <a:lstStyle/>
        <a:p>
          <a:pPr marL="0" marR="0" lvl="1" indent="0" algn="l" defTabSz="914400" eaLnBrk="1" fontAlgn="auto" latinLnBrk="0" hangingPunct="1">
            <a:lnSpc>
              <a:spcPct val="100000"/>
            </a:lnSpc>
            <a:spcBef>
              <a:spcPct val="0"/>
            </a:spcBef>
            <a:spcAft>
              <a:spcPts val="0"/>
            </a:spcAft>
            <a:buClrTx/>
            <a:buSzTx/>
            <a:buFontTx/>
            <a:buNone/>
            <a:tabLst/>
            <a:defRPr/>
          </a:pPr>
          <a:r>
            <a:rPr lang="el-GR" sz="2400" kern="1200" dirty="0"/>
            <a:t> </a:t>
          </a:r>
          <a:r>
            <a:rPr lang="el-GR" sz="2400" b="0" u="none" kern="1200" dirty="0"/>
            <a:t>Δημιουργία λογαριασμού μέσω της ιστοσελίδας </a:t>
          </a:r>
          <a:r>
            <a:rPr lang="el-GR" sz="2400" u="none" kern="1200" dirty="0"/>
            <a:t>του    Οργανισμού</a:t>
          </a:r>
        </a:p>
        <a:p>
          <a:pPr marL="0" marR="0" lvl="1" indent="0" algn="l" defTabSz="914400" eaLnBrk="1" fontAlgn="auto" latinLnBrk="0" hangingPunct="1">
            <a:lnSpc>
              <a:spcPct val="100000"/>
            </a:lnSpc>
            <a:spcBef>
              <a:spcPct val="0"/>
            </a:spcBef>
            <a:spcAft>
              <a:spcPts val="0"/>
            </a:spcAft>
            <a:buClrTx/>
            <a:buSzTx/>
            <a:buFontTx/>
            <a:buNone/>
            <a:tabLst/>
            <a:defRPr/>
          </a:pPr>
          <a:r>
            <a:rPr lang="el-GR" sz="2400" u="none" kern="1200" dirty="0"/>
            <a:t> Πρόσβαση στη Διαδικτυακή Πύλη Δικαιούχων</a:t>
          </a:r>
        </a:p>
        <a:p>
          <a:pPr marL="0" marR="0" lvl="1" indent="0" algn="l" defTabSz="914400" eaLnBrk="1" fontAlgn="auto" latinLnBrk="0" hangingPunct="1">
            <a:lnSpc>
              <a:spcPct val="100000"/>
            </a:lnSpc>
            <a:spcBef>
              <a:spcPct val="0"/>
            </a:spcBef>
            <a:spcAft>
              <a:spcPts val="0"/>
            </a:spcAft>
            <a:buClrTx/>
            <a:buSzTx/>
            <a:buFontTx/>
            <a:buNone/>
            <a:tabLst/>
            <a:defRPr/>
          </a:pPr>
          <a:r>
            <a:rPr lang="el-GR" sz="2400" u="none" kern="1200" dirty="0"/>
            <a:t> Συμπλήρωση αίτησης για εγγραφή στο ΓεΣΥ</a:t>
          </a:r>
        </a:p>
        <a:p>
          <a:pPr marL="0" marR="0" lvl="1" indent="0" algn="l" defTabSz="914400" eaLnBrk="1" fontAlgn="auto" latinLnBrk="0" hangingPunct="1">
            <a:lnSpc>
              <a:spcPct val="100000"/>
            </a:lnSpc>
            <a:spcBef>
              <a:spcPct val="0"/>
            </a:spcBef>
            <a:spcAft>
              <a:spcPts val="0"/>
            </a:spcAft>
            <a:buClrTx/>
            <a:buSzTx/>
            <a:buFontTx/>
            <a:buNone/>
            <a:tabLst/>
            <a:defRPr/>
          </a:pPr>
          <a:r>
            <a:rPr lang="el-GR" sz="2400" u="none" kern="1200" dirty="0"/>
            <a:t> </a:t>
          </a:r>
          <a:r>
            <a:rPr lang="el-GR" sz="2400" i="0" u="none" kern="1200" dirty="0"/>
            <a:t>Επιλογή ΠΙ και </a:t>
          </a:r>
          <a:r>
            <a:rPr lang="el-GR" sz="2400" kern="1200" dirty="0"/>
            <a:t>εγγραφή στον κατάλογο του</a:t>
          </a:r>
        </a:p>
      </dsp:txBody>
      <dsp:txXfrm>
        <a:off x="0" y="601541"/>
        <a:ext cx="8049259" cy="2494800"/>
      </dsp:txXfrm>
    </dsp:sp>
    <dsp:sp modelId="{1EBC1D9E-B1AF-4548-A40B-4DCE5454796A}">
      <dsp:nvSpPr>
        <dsp:cNvPr id="0" name=""/>
        <dsp:cNvSpPr/>
      </dsp:nvSpPr>
      <dsp:spPr>
        <a:xfrm>
          <a:off x="402462" y="247301"/>
          <a:ext cx="5634481" cy="708480"/>
        </a:xfrm>
        <a:prstGeom prst="roundRect">
          <a:avLst/>
        </a:prstGeom>
        <a:solidFill>
          <a:schemeClr val="lt1">
            <a:hueOff val="0"/>
            <a:satOff val="0"/>
            <a:lumOff val="0"/>
          </a:schemeClr>
        </a:solid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2970" tIns="0" rIns="212970" bIns="0" numCol="1" spcCol="1270" anchor="ctr" anchorCtr="0">
          <a:noAutofit/>
        </a:bodyPr>
        <a:lstStyle/>
        <a:p>
          <a:pPr marL="0" lvl="0" indent="0" algn="l" defTabSz="1066800">
            <a:lnSpc>
              <a:spcPct val="90000"/>
            </a:lnSpc>
            <a:spcBef>
              <a:spcPct val="0"/>
            </a:spcBef>
            <a:spcAft>
              <a:spcPct val="35000"/>
            </a:spcAft>
            <a:buNone/>
          </a:pPr>
          <a:r>
            <a:rPr lang="el-GR" sz="2400" b="1" kern="1200" dirty="0">
              <a:solidFill>
                <a:schemeClr val="tx1"/>
              </a:solidFill>
            </a:rPr>
            <a:t>Μέσω της διαδικτυακής πύλης δικαιούχων</a:t>
          </a:r>
          <a:endParaRPr lang="en-GB" sz="2400" b="1" kern="1200" dirty="0">
            <a:solidFill>
              <a:schemeClr val="tx1"/>
            </a:solidFill>
          </a:endParaRPr>
        </a:p>
      </dsp:txBody>
      <dsp:txXfrm>
        <a:off x="437047" y="281886"/>
        <a:ext cx="5565311" cy="639310"/>
      </dsp:txXfrm>
    </dsp:sp>
    <dsp:sp modelId="{6F88C06B-B6F7-4D90-B356-462CF06F7043}">
      <dsp:nvSpPr>
        <dsp:cNvPr id="0" name=""/>
        <dsp:cNvSpPr/>
      </dsp:nvSpPr>
      <dsp:spPr>
        <a:xfrm>
          <a:off x="0" y="3580182"/>
          <a:ext cx="8049259" cy="2041200"/>
        </a:xfrm>
        <a:prstGeom prst="rect">
          <a:avLst/>
        </a:prstGeom>
        <a:solidFill>
          <a:schemeClr val="lt1">
            <a:alpha val="90000"/>
            <a:hueOff val="0"/>
            <a:satOff val="0"/>
            <a:lumOff val="0"/>
            <a:alphaOff val="0"/>
          </a:schemeClr>
        </a:solidFill>
        <a:ln w="25400" cap="flat" cmpd="sng" algn="ctr">
          <a:solidFill>
            <a:schemeClr val="accent6">
              <a:lumMod val="40000"/>
              <a:lumOff val="6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24712" tIns="499872" rIns="624712" bIns="170688" numCol="1" spcCol="1270" anchor="t" anchorCtr="0">
          <a:noAutofit/>
        </a:bodyPr>
        <a:lstStyle/>
        <a:p>
          <a:pPr marL="228600" lvl="1" indent="-228600" algn="l" defTabSz="1066800">
            <a:lnSpc>
              <a:spcPct val="90000"/>
            </a:lnSpc>
            <a:spcBef>
              <a:spcPct val="0"/>
            </a:spcBef>
            <a:spcAft>
              <a:spcPct val="15000"/>
            </a:spcAft>
            <a:buChar char="•"/>
          </a:pPr>
          <a:r>
            <a:rPr lang="el-GR" altLang="ja-JP" sz="2400" u="none" kern="1200" dirty="0">
              <a:ea typeface="MS PGothic" pitchFamily="34" charset="-128"/>
            </a:rPr>
            <a:t>Ε</a:t>
          </a:r>
          <a:r>
            <a:rPr lang="el-GR" sz="2400" u="none" kern="1200" dirty="0">
              <a:solidFill>
                <a:schemeClr val="tx1">
                  <a:lumMod val="95000"/>
                  <a:lumOff val="5000"/>
                </a:schemeClr>
              </a:solidFill>
            </a:rPr>
            <a:t>πίσκεψη στον ΠΙ της επιλογής του δικαιούχου</a:t>
          </a:r>
          <a:endParaRPr lang="en-GB" sz="2400" u="none" kern="1200" dirty="0">
            <a:solidFill>
              <a:srgbClr val="FF0000"/>
            </a:solidFill>
          </a:endParaRPr>
        </a:p>
        <a:p>
          <a:pPr marL="228600" lvl="1" indent="-228600" algn="l" defTabSz="1066800">
            <a:lnSpc>
              <a:spcPct val="90000"/>
            </a:lnSpc>
            <a:spcBef>
              <a:spcPct val="0"/>
            </a:spcBef>
            <a:spcAft>
              <a:spcPct val="15000"/>
            </a:spcAft>
            <a:buChar char="•"/>
          </a:pPr>
          <a:r>
            <a:rPr lang="el-GR" sz="2400" u="none" kern="1200" dirty="0">
              <a:solidFill>
                <a:schemeClr val="tx1">
                  <a:lumMod val="95000"/>
                  <a:lumOff val="5000"/>
                </a:schemeClr>
              </a:solidFill>
            </a:rPr>
            <a:t>Συμπλήρωση των απαραίτητων στοιχείων από τον ΠΙ</a:t>
          </a:r>
          <a:endParaRPr lang="en-GB" sz="2400" u="none" kern="1200" dirty="0">
            <a:solidFill>
              <a:schemeClr val="tx1">
                <a:lumMod val="95000"/>
                <a:lumOff val="5000"/>
              </a:schemeClr>
            </a:solidFill>
          </a:endParaRPr>
        </a:p>
        <a:p>
          <a:pPr marL="228600" lvl="1" indent="-228600" algn="l" defTabSz="1066800">
            <a:lnSpc>
              <a:spcPct val="90000"/>
            </a:lnSpc>
            <a:spcBef>
              <a:spcPct val="0"/>
            </a:spcBef>
            <a:spcAft>
              <a:spcPct val="15000"/>
            </a:spcAft>
            <a:buChar char="•"/>
          </a:pPr>
          <a:r>
            <a:rPr lang="el-GR" sz="2400" u="none" kern="1200" dirty="0">
              <a:solidFill>
                <a:schemeClr val="tx1">
                  <a:lumMod val="95000"/>
                  <a:lumOff val="5000"/>
                </a:schemeClr>
              </a:solidFill>
            </a:rPr>
            <a:t>Εγγραφή στη λίστα του ΠΙ</a:t>
          </a:r>
          <a:endParaRPr lang="en-GB" sz="2400" u="none" kern="1200" dirty="0">
            <a:solidFill>
              <a:schemeClr val="tx1">
                <a:lumMod val="95000"/>
                <a:lumOff val="5000"/>
              </a:schemeClr>
            </a:solidFill>
          </a:endParaRPr>
        </a:p>
      </dsp:txBody>
      <dsp:txXfrm>
        <a:off x="0" y="3580182"/>
        <a:ext cx="8049259" cy="2041200"/>
      </dsp:txXfrm>
    </dsp:sp>
    <dsp:sp modelId="{064DD5A9-75E5-4F02-AE6D-66ACE019AD94}">
      <dsp:nvSpPr>
        <dsp:cNvPr id="0" name=""/>
        <dsp:cNvSpPr/>
      </dsp:nvSpPr>
      <dsp:spPr>
        <a:xfrm>
          <a:off x="402462" y="3225942"/>
          <a:ext cx="5634481" cy="708480"/>
        </a:xfrm>
        <a:prstGeom prst="roundRect">
          <a:avLst/>
        </a:prstGeom>
        <a:solidFill>
          <a:schemeClr val="lt1">
            <a:hueOff val="0"/>
            <a:satOff val="0"/>
            <a:lumOff val="0"/>
          </a:schemeClr>
        </a:solidFill>
        <a:ln w="25400" cap="flat" cmpd="sng" algn="ctr">
          <a:solidFill>
            <a:schemeClr val="accent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2970" tIns="0" rIns="212970" bIns="0" numCol="1" spcCol="1270" anchor="ctr" anchorCtr="0">
          <a:noAutofit/>
        </a:bodyPr>
        <a:lstStyle/>
        <a:p>
          <a:pPr marL="0" lvl="0" indent="0" algn="l" defTabSz="1066800">
            <a:lnSpc>
              <a:spcPct val="90000"/>
            </a:lnSpc>
            <a:spcBef>
              <a:spcPct val="0"/>
            </a:spcBef>
            <a:spcAft>
              <a:spcPct val="35000"/>
            </a:spcAft>
            <a:buNone/>
          </a:pPr>
          <a:r>
            <a:rPr lang="el-GR" sz="2400" b="1" kern="1200" dirty="0">
              <a:solidFill>
                <a:schemeClr val="tx1"/>
              </a:solidFill>
            </a:rPr>
            <a:t>Μέσω επίσκεψης σε ΠΙ</a:t>
          </a:r>
          <a:endParaRPr lang="en-GB" sz="2400" b="1" kern="1200" dirty="0">
            <a:solidFill>
              <a:schemeClr val="tx1"/>
            </a:solidFill>
          </a:endParaRPr>
        </a:p>
      </dsp:txBody>
      <dsp:txXfrm>
        <a:off x="437047" y="3260527"/>
        <a:ext cx="5565311" cy="639310"/>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FBD992-35E0-4F6B-881F-0407213D2633}">
      <dsp:nvSpPr>
        <dsp:cNvPr id="0" name=""/>
        <dsp:cNvSpPr/>
      </dsp:nvSpPr>
      <dsp:spPr>
        <a:xfrm>
          <a:off x="0" y="550077"/>
          <a:ext cx="8378455" cy="5145123"/>
        </a:xfrm>
        <a:prstGeom prst="rect">
          <a:avLst/>
        </a:prstGeom>
        <a:solidFill>
          <a:schemeClr val="accent6">
            <a:lumMod val="20000"/>
            <a:lumOff val="80000"/>
            <a:alpha val="90000"/>
          </a:schemeClr>
        </a:solidFill>
        <a:ln w="25400" cap="flat" cmpd="sng" algn="ctr">
          <a:solidFill>
            <a:schemeClr val="accent2">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50261" tIns="154294" rIns="650261" bIns="184912" numCol="1" spcCol="1270" anchor="t" anchorCtr="0">
          <a:noAutofit/>
        </a:bodyPr>
        <a:lstStyle/>
        <a:p>
          <a:pPr marL="228600" lvl="1" indent="-228600" algn="l" defTabSz="1155700">
            <a:lnSpc>
              <a:spcPct val="90000"/>
            </a:lnSpc>
            <a:spcBef>
              <a:spcPct val="0"/>
            </a:spcBef>
            <a:spcAft>
              <a:spcPct val="15000"/>
            </a:spcAft>
            <a:buChar char="•"/>
          </a:pPr>
          <a:r>
            <a:rPr lang="el-GR" sz="2600" b="0" kern="1200" dirty="0"/>
            <a:t>Εύκολη και γρήγορη εγγραφή στο ΓεΣΥ και στη λίστα  ΠΙ</a:t>
          </a:r>
          <a:endParaRPr lang="en-GB" sz="2600" b="0" kern="1200" dirty="0"/>
        </a:p>
        <a:p>
          <a:pPr marL="228600" lvl="1" indent="-228600" algn="l" defTabSz="1155700">
            <a:lnSpc>
              <a:spcPct val="90000"/>
            </a:lnSpc>
            <a:spcBef>
              <a:spcPct val="0"/>
            </a:spcBef>
            <a:spcAft>
              <a:spcPct val="15000"/>
            </a:spcAft>
            <a:buChar char="•"/>
          </a:pPr>
          <a:r>
            <a:rPr lang="el-GR" sz="2600" b="0" kern="1200" dirty="0"/>
            <a:t>Δυνατότητα εγγραφής εξαρτωμένων και άλλων συγγενικών προσώπων μέσω του ίδιου λογαριασμού</a:t>
          </a:r>
          <a:endParaRPr lang="en-GB" sz="2600" b="0" kern="1200" dirty="0"/>
        </a:p>
        <a:p>
          <a:pPr marL="228600" lvl="1" indent="-228600" algn="l" defTabSz="1155700">
            <a:lnSpc>
              <a:spcPct val="90000"/>
            </a:lnSpc>
            <a:spcBef>
              <a:spcPct val="0"/>
            </a:spcBef>
            <a:spcAft>
              <a:spcPct val="15000"/>
            </a:spcAft>
            <a:buChar char="•"/>
          </a:pPr>
          <a:r>
            <a:rPr lang="el-GR" sz="2600" b="0" kern="1200" dirty="0"/>
            <a:t>Δυνατότητα αλλαγής των στοιχείων που αφορούν στο δικαιούχο </a:t>
          </a:r>
          <a:endParaRPr lang="en-GB" sz="2600" b="0" kern="1200" dirty="0"/>
        </a:p>
        <a:p>
          <a:pPr marL="228600" lvl="1" indent="-228600" algn="l" defTabSz="1155700">
            <a:lnSpc>
              <a:spcPct val="90000"/>
            </a:lnSpc>
            <a:spcBef>
              <a:spcPct val="0"/>
            </a:spcBef>
            <a:spcAft>
              <a:spcPct val="15000"/>
            </a:spcAft>
            <a:buChar char="•"/>
          </a:pPr>
          <a:r>
            <a:rPr lang="el-GR" sz="2600" b="0" kern="1200" dirty="0"/>
            <a:t>Αλλαγή ΠΙ </a:t>
          </a:r>
          <a:endParaRPr lang="en-GB" sz="2600" b="0" kern="1200" dirty="0"/>
        </a:p>
        <a:p>
          <a:pPr marL="228600" lvl="1" indent="-228600" algn="l" defTabSz="1155700">
            <a:lnSpc>
              <a:spcPct val="90000"/>
            </a:lnSpc>
            <a:spcBef>
              <a:spcPct val="0"/>
            </a:spcBef>
            <a:spcAft>
              <a:spcPct val="15000"/>
            </a:spcAft>
            <a:buChar char="•"/>
          </a:pPr>
          <a:r>
            <a:rPr lang="el-GR" sz="2600" b="0" kern="1200" dirty="0"/>
            <a:t>Λήψη ειδοποιήσεων &amp; άλλων πληροφοριών  </a:t>
          </a:r>
          <a:endParaRPr lang="en-GB" sz="2600" b="0" kern="1200" dirty="0"/>
        </a:p>
        <a:p>
          <a:pPr marL="228600" lvl="1" indent="-228600" algn="l" defTabSz="1155700">
            <a:lnSpc>
              <a:spcPct val="90000"/>
            </a:lnSpc>
            <a:spcBef>
              <a:spcPct val="0"/>
            </a:spcBef>
            <a:spcAft>
              <a:spcPct val="15000"/>
            </a:spcAft>
            <a:buChar char="•"/>
          </a:pPr>
          <a:r>
            <a:rPr lang="el-GR" sz="2600" b="0" kern="1200" dirty="0"/>
            <a:t>Πρόσβαση στον προσωπικό «Ηλεκτρονικό Φάκελο Ασθενή» (ΗΦΑ)</a:t>
          </a:r>
          <a:endParaRPr lang="en-GB" sz="2600" b="0" kern="1200" dirty="0"/>
        </a:p>
        <a:p>
          <a:pPr marL="228600" lvl="1" indent="-228600" algn="l" defTabSz="1155700">
            <a:lnSpc>
              <a:spcPct val="90000"/>
            </a:lnSpc>
            <a:spcBef>
              <a:spcPct val="0"/>
            </a:spcBef>
            <a:spcAft>
              <a:spcPct val="15000"/>
            </a:spcAft>
            <a:buChar char="•"/>
          </a:pPr>
          <a:r>
            <a:rPr lang="el-GR" sz="2600" b="0" kern="1200" dirty="0"/>
            <a:t>Δυνατότητα υποβολής ερωτήσεων ή/και παραπόνων</a:t>
          </a:r>
          <a:endParaRPr lang="en-GB" sz="2600" b="0" kern="1200" dirty="0"/>
        </a:p>
        <a:p>
          <a:pPr marL="228600" lvl="1" indent="-228600" algn="l" defTabSz="1155700">
            <a:lnSpc>
              <a:spcPct val="90000"/>
            </a:lnSpc>
            <a:spcBef>
              <a:spcPct val="0"/>
            </a:spcBef>
            <a:spcAft>
              <a:spcPct val="15000"/>
            </a:spcAft>
            <a:buChar char="•"/>
          </a:pPr>
          <a:endParaRPr lang="en-GB" sz="2600" kern="1200" dirty="0"/>
        </a:p>
      </dsp:txBody>
      <dsp:txXfrm>
        <a:off x="0" y="550077"/>
        <a:ext cx="8378455" cy="5145123"/>
      </dsp:txXfrm>
    </dsp:sp>
    <dsp:sp modelId="{BF8B7000-A51B-4F51-A772-501A4DB964BB}">
      <dsp:nvSpPr>
        <dsp:cNvPr id="0" name=""/>
        <dsp:cNvSpPr/>
      </dsp:nvSpPr>
      <dsp:spPr>
        <a:xfrm>
          <a:off x="0" y="0"/>
          <a:ext cx="7803270" cy="610552"/>
        </a:xfrm>
        <a:prstGeom prst="roundRect">
          <a:avLst/>
        </a:prstGeom>
        <a:solidFill>
          <a:srgbClr val="6980B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1680" tIns="0" rIns="221680" bIns="0" numCol="1" spcCol="1270" anchor="ctr" anchorCtr="0">
          <a:noAutofit/>
        </a:bodyPr>
        <a:lstStyle/>
        <a:p>
          <a:pPr marL="0" lvl="0" indent="0" algn="l" defTabSz="889000">
            <a:lnSpc>
              <a:spcPct val="90000"/>
            </a:lnSpc>
            <a:spcBef>
              <a:spcPct val="0"/>
            </a:spcBef>
            <a:spcAft>
              <a:spcPct val="35000"/>
            </a:spcAft>
            <a:buNone/>
          </a:pPr>
          <a:r>
            <a:rPr lang="el-GR" sz="2000" b="1" kern="1200" dirty="0">
              <a:solidFill>
                <a:schemeClr val="bg1"/>
              </a:solidFill>
            </a:rPr>
            <a:t>Οφέλη δημιουργίας λογαριασμού στη Πύλη Δικαιούχων</a:t>
          </a:r>
          <a:endParaRPr lang="en-GB" sz="2000" b="1" kern="1200" dirty="0">
            <a:solidFill>
              <a:schemeClr val="bg1"/>
            </a:solidFill>
          </a:endParaRPr>
        </a:p>
      </dsp:txBody>
      <dsp:txXfrm>
        <a:off x="29805" y="29805"/>
        <a:ext cx="7743660" cy="550942"/>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C1BD1E-89FC-4179-AA29-CDA2E7001C76}">
      <dsp:nvSpPr>
        <dsp:cNvPr id="0" name=""/>
        <dsp:cNvSpPr/>
      </dsp:nvSpPr>
      <dsp:spPr>
        <a:xfrm rot="5400000">
          <a:off x="4613714" y="-2508905"/>
          <a:ext cx="974220" cy="6005027"/>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171450" lvl="1" indent="-171450" algn="l" defTabSz="711200">
            <a:lnSpc>
              <a:spcPct val="90000"/>
            </a:lnSpc>
            <a:spcBef>
              <a:spcPct val="0"/>
            </a:spcBef>
            <a:spcAft>
              <a:spcPct val="15000"/>
            </a:spcAft>
            <a:buChar char="•"/>
          </a:pPr>
          <a:r>
            <a:rPr lang="el-GR" sz="1600" kern="1200" dirty="0"/>
            <a:t>Παραλαβή του 1</a:t>
          </a:r>
          <a:r>
            <a:rPr lang="el-GR" sz="1600" kern="1200" baseline="30000" dirty="0"/>
            <a:t>ου</a:t>
          </a:r>
          <a:r>
            <a:rPr lang="el-GR" sz="1600" kern="1200" dirty="0"/>
            <a:t> μέρους του Συστήματος Πληροφορικής</a:t>
          </a:r>
          <a:r>
            <a:rPr lang="en-US" sz="1600" kern="1200" dirty="0"/>
            <a:t>:</a:t>
          </a:r>
          <a:endParaRPr lang="el-GR" sz="1600" kern="1200" dirty="0"/>
        </a:p>
        <a:p>
          <a:pPr marL="342900" lvl="2" indent="-171450" algn="l" defTabSz="711200">
            <a:lnSpc>
              <a:spcPct val="90000"/>
            </a:lnSpc>
            <a:spcBef>
              <a:spcPct val="0"/>
            </a:spcBef>
            <a:spcAft>
              <a:spcPct val="15000"/>
            </a:spcAft>
            <a:buChar char="•"/>
          </a:pPr>
          <a:r>
            <a:rPr lang="el-GR" sz="1600" kern="1200" dirty="0"/>
            <a:t>Εγγραφή παροχέων φροντίδας υγείας</a:t>
          </a:r>
        </a:p>
        <a:p>
          <a:pPr marL="342900" lvl="2" indent="-171450" algn="l" defTabSz="711200">
            <a:lnSpc>
              <a:spcPct val="90000"/>
            </a:lnSpc>
            <a:spcBef>
              <a:spcPct val="0"/>
            </a:spcBef>
            <a:spcAft>
              <a:spcPct val="15000"/>
            </a:spcAft>
            <a:buChar char="•"/>
          </a:pPr>
          <a:r>
            <a:rPr lang="el-GR" sz="1600" kern="1200" dirty="0">
              <a:solidFill>
                <a:schemeClr val="tx1"/>
              </a:solidFill>
            </a:rPr>
            <a:t>Εγγραφή δικαιούχων</a:t>
          </a:r>
        </a:p>
      </dsp:txBody>
      <dsp:txXfrm rot="-5400000">
        <a:off x="2098311" y="54056"/>
        <a:ext cx="5957469" cy="879104"/>
      </dsp:txXfrm>
    </dsp:sp>
    <dsp:sp modelId="{A7BF9F09-90D4-4EE1-B6D0-E9C7AE850A06}">
      <dsp:nvSpPr>
        <dsp:cNvPr id="0" name=""/>
        <dsp:cNvSpPr/>
      </dsp:nvSpPr>
      <dsp:spPr>
        <a:xfrm>
          <a:off x="48376" y="0"/>
          <a:ext cx="1947932" cy="965475"/>
        </a:xfrm>
        <a:prstGeom prst="roundRect">
          <a:avLst/>
        </a:prstGeom>
        <a:solidFill>
          <a:schemeClr val="accent6"/>
        </a:solidFill>
        <a:ln w="25400"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l-GR" sz="2400" b="1" kern="1200" dirty="0"/>
            <a:t>Τέλος  2018</a:t>
          </a:r>
        </a:p>
      </dsp:txBody>
      <dsp:txXfrm>
        <a:off x="95507" y="47131"/>
        <a:ext cx="1853670" cy="871213"/>
      </dsp:txXfrm>
    </dsp:sp>
    <dsp:sp modelId="{B95F36FF-5168-4BE2-AE24-8425CC46BEF1}">
      <dsp:nvSpPr>
        <dsp:cNvPr id="0" name=""/>
        <dsp:cNvSpPr/>
      </dsp:nvSpPr>
      <dsp:spPr>
        <a:xfrm rot="5400000">
          <a:off x="4621146" y="-1463420"/>
          <a:ext cx="944836" cy="6019549"/>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171450" lvl="1" indent="-171450" algn="l" defTabSz="711200">
            <a:lnSpc>
              <a:spcPct val="90000"/>
            </a:lnSpc>
            <a:spcBef>
              <a:spcPct val="0"/>
            </a:spcBef>
            <a:spcAft>
              <a:spcPct val="15000"/>
            </a:spcAft>
            <a:buChar char="•"/>
          </a:pPr>
          <a:r>
            <a:rPr lang="el-GR" sz="1600" kern="1200" dirty="0"/>
            <a:t>Συλλογή εισφορών για την 1</a:t>
          </a:r>
          <a:r>
            <a:rPr lang="el-GR" sz="1600" kern="1200" baseline="30000" dirty="0"/>
            <a:t>η</a:t>
          </a:r>
          <a:r>
            <a:rPr lang="el-GR" sz="1600" kern="1200" dirty="0"/>
            <a:t> φάση</a:t>
          </a:r>
        </a:p>
      </dsp:txBody>
      <dsp:txXfrm rot="-5400000">
        <a:off x="2083790" y="1120059"/>
        <a:ext cx="5973426" cy="852590"/>
      </dsp:txXfrm>
    </dsp:sp>
    <dsp:sp modelId="{10E9B848-DA40-4E33-AA07-9464250EA64E}">
      <dsp:nvSpPr>
        <dsp:cNvPr id="0" name=""/>
        <dsp:cNvSpPr/>
      </dsp:nvSpPr>
      <dsp:spPr>
        <a:xfrm>
          <a:off x="44435" y="1057674"/>
          <a:ext cx="1898427" cy="933062"/>
        </a:xfrm>
        <a:prstGeom prst="roundRect">
          <a:avLst/>
        </a:prstGeom>
        <a:solidFill>
          <a:schemeClr val="accent6"/>
        </a:solidFill>
        <a:ln w="25400"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l-GR" sz="2400" b="1" kern="1200" dirty="0"/>
            <a:t>Μάρτιος  </a:t>
          </a:r>
        </a:p>
        <a:p>
          <a:pPr marL="0" lvl="0" indent="0" algn="ctr" defTabSz="1066800">
            <a:lnSpc>
              <a:spcPct val="90000"/>
            </a:lnSpc>
            <a:spcBef>
              <a:spcPct val="0"/>
            </a:spcBef>
            <a:spcAft>
              <a:spcPct val="35000"/>
            </a:spcAft>
            <a:buNone/>
          </a:pPr>
          <a:r>
            <a:rPr lang="el-GR" sz="2400" b="1" kern="1200" dirty="0"/>
            <a:t>2019</a:t>
          </a:r>
        </a:p>
      </dsp:txBody>
      <dsp:txXfrm>
        <a:off x="89983" y="1103222"/>
        <a:ext cx="1807331" cy="841966"/>
      </dsp:txXfrm>
    </dsp:sp>
    <dsp:sp modelId="{DF03F2E3-A63D-49F0-BDD2-FBAA0B0F8913}">
      <dsp:nvSpPr>
        <dsp:cNvPr id="0" name=""/>
        <dsp:cNvSpPr/>
      </dsp:nvSpPr>
      <dsp:spPr>
        <a:xfrm rot="5400000">
          <a:off x="4482401" y="1933969"/>
          <a:ext cx="1161389" cy="59723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02870" tIns="51435" rIns="102870" bIns="51435" numCol="1" spcCol="1270" anchor="ctr" anchorCtr="0">
          <a:noAutofit/>
        </a:bodyPr>
        <a:lstStyle/>
        <a:p>
          <a:pPr marL="171450" lvl="1" indent="-171450" algn="l" defTabSz="711200">
            <a:lnSpc>
              <a:spcPct val="90000"/>
            </a:lnSpc>
            <a:spcBef>
              <a:spcPct val="0"/>
            </a:spcBef>
            <a:spcAft>
              <a:spcPct val="15000"/>
            </a:spcAft>
            <a:buChar char="•"/>
          </a:pPr>
          <a:r>
            <a:rPr lang="el-GR" sz="1600" kern="1200" dirty="0"/>
            <a:t>Έναρξη 2</a:t>
          </a:r>
          <a:r>
            <a:rPr lang="el-GR" sz="1600" kern="1200" baseline="30000" dirty="0"/>
            <a:t>ης </a:t>
          </a:r>
          <a:r>
            <a:rPr lang="el-GR" sz="1600" kern="1200" dirty="0"/>
            <a:t>φάσης</a:t>
          </a:r>
        </a:p>
        <a:p>
          <a:pPr marL="171450" lvl="1" indent="-171450" algn="l" defTabSz="711200">
            <a:lnSpc>
              <a:spcPct val="90000"/>
            </a:lnSpc>
            <a:spcBef>
              <a:spcPct val="0"/>
            </a:spcBef>
            <a:spcAft>
              <a:spcPct val="15000"/>
            </a:spcAft>
            <a:buChar char="•"/>
          </a:pPr>
          <a:r>
            <a:rPr lang="el-GR" sz="1600" kern="1200" dirty="0"/>
            <a:t>Πλήρης εφαρμογή του ΓεΣΥ</a:t>
          </a:r>
        </a:p>
      </dsp:txBody>
      <dsp:txXfrm rot="-5400000">
        <a:off x="2076944" y="4396120"/>
        <a:ext cx="5915609" cy="1048001"/>
      </dsp:txXfrm>
    </dsp:sp>
    <dsp:sp modelId="{78B3671F-019C-4601-B7BE-8AB5DA5D8D65}">
      <dsp:nvSpPr>
        <dsp:cNvPr id="0" name=""/>
        <dsp:cNvSpPr/>
      </dsp:nvSpPr>
      <dsp:spPr>
        <a:xfrm>
          <a:off x="36396" y="4413252"/>
          <a:ext cx="1883549" cy="1066956"/>
        </a:xfrm>
        <a:prstGeom prst="roundRect">
          <a:avLst/>
        </a:prstGeom>
        <a:solidFill>
          <a:schemeClr val="accent6"/>
        </a:solidFill>
        <a:ln w="25400"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l-GR" sz="2400" b="1" kern="1200" dirty="0"/>
            <a:t>Ιούνιος </a:t>
          </a:r>
        </a:p>
        <a:p>
          <a:pPr marL="0" lvl="0" indent="0" algn="ctr" defTabSz="1066800">
            <a:lnSpc>
              <a:spcPct val="90000"/>
            </a:lnSpc>
            <a:spcBef>
              <a:spcPct val="0"/>
            </a:spcBef>
            <a:spcAft>
              <a:spcPct val="35000"/>
            </a:spcAft>
            <a:buNone/>
          </a:pPr>
          <a:r>
            <a:rPr lang="el-GR" sz="2400" b="1" kern="1200" dirty="0"/>
            <a:t>2020</a:t>
          </a:r>
        </a:p>
      </dsp:txBody>
      <dsp:txXfrm>
        <a:off x="88480" y="4465336"/>
        <a:ext cx="1779381" cy="962788"/>
      </dsp:txXfrm>
    </dsp:sp>
    <dsp:sp modelId="{D6E55857-2CBA-4665-B984-938C78D13EDD}">
      <dsp:nvSpPr>
        <dsp:cNvPr id="0" name=""/>
        <dsp:cNvSpPr/>
      </dsp:nvSpPr>
      <dsp:spPr>
        <a:xfrm rot="5400000">
          <a:off x="4580333" y="-422260"/>
          <a:ext cx="975352" cy="6042575"/>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l-GR" sz="1600" kern="1200" dirty="0"/>
            <a:t>Έναρξη της 1</a:t>
          </a:r>
          <a:r>
            <a:rPr lang="el-GR" sz="1600" kern="1200" baseline="30000" dirty="0"/>
            <a:t>ης</a:t>
          </a:r>
          <a:r>
            <a:rPr lang="el-GR" sz="1600" kern="1200" dirty="0"/>
            <a:t> φάσης</a:t>
          </a:r>
        </a:p>
        <a:p>
          <a:pPr marL="171450" lvl="1" indent="-171450" algn="l" defTabSz="711200">
            <a:lnSpc>
              <a:spcPct val="90000"/>
            </a:lnSpc>
            <a:spcBef>
              <a:spcPct val="0"/>
            </a:spcBef>
            <a:spcAft>
              <a:spcPct val="15000"/>
            </a:spcAft>
            <a:buChar char="•"/>
          </a:pPr>
          <a:r>
            <a:rPr lang="el-GR" sz="1600" kern="1200" dirty="0"/>
            <a:t>Εξωνοσοκομειακή φροντίδα υγείας</a:t>
          </a:r>
          <a:br>
            <a:rPr lang="el-GR" sz="1600" kern="1200" dirty="0"/>
          </a:br>
          <a:r>
            <a:rPr lang="el-GR" sz="1600" kern="1200" dirty="0"/>
            <a:t>(Προσωπικοί Ιατροί, Ειδικοί Ιατροί, Φαρμακεία και Εργαστήρια)</a:t>
          </a:r>
        </a:p>
      </dsp:txBody>
      <dsp:txXfrm rot="-5400000">
        <a:off x="2046722" y="2158964"/>
        <a:ext cx="5994962" cy="880126"/>
      </dsp:txXfrm>
    </dsp:sp>
    <dsp:sp modelId="{C197305B-E8E4-45FE-94E2-09FEFE0A943F}">
      <dsp:nvSpPr>
        <dsp:cNvPr id="0" name=""/>
        <dsp:cNvSpPr/>
      </dsp:nvSpPr>
      <dsp:spPr>
        <a:xfrm>
          <a:off x="66735" y="2099569"/>
          <a:ext cx="1829639" cy="977412"/>
        </a:xfrm>
        <a:prstGeom prst="roundRect">
          <a:avLst/>
        </a:prstGeom>
        <a:solidFill>
          <a:schemeClr val="accent6"/>
        </a:solidFill>
        <a:ln w="25400"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l-GR" sz="2400" b="1" kern="1200" dirty="0"/>
            <a:t>Ιούνιος  </a:t>
          </a:r>
        </a:p>
        <a:p>
          <a:pPr marL="0" lvl="0" indent="0" algn="ctr" defTabSz="1066800">
            <a:lnSpc>
              <a:spcPct val="90000"/>
            </a:lnSpc>
            <a:spcBef>
              <a:spcPct val="0"/>
            </a:spcBef>
            <a:spcAft>
              <a:spcPct val="35000"/>
            </a:spcAft>
            <a:buNone/>
          </a:pPr>
          <a:r>
            <a:rPr lang="el-GR" sz="2400" b="1" kern="1200" dirty="0"/>
            <a:t>2019</a:t>
          </a:r>
        </a:p>
      </dsp:txBody>
      <dsp:txXfrm>
        <a:off x="114448" y="2147282"/>
        <a:ext cx="1734213" cy="881986"/>
      </dsp:txXfrm>
    </dsp:sp>
    <dsp:sp modelId="{A32CC275-00CE-49C2-86BC-EE26E37CD0D4}">
      <dsp:nvSpPr>
        <dsp:cNvPr id="0" name=""/>
        <dsp:cNvSpPr/>
      </dsp:nvSpPr>
      <dsp:spPr>
        <a:xfrm rot="5400000">
          <a:off x="4596408" y="661702"/>
          <a:ext cx="944836" cy="606902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0960" tIns="30480" rIns="60960" bIns="30480" numCol="1" spcCol="1270" anchor="ctr" anchorCtr="0">
          <a:noAutofit/>
        </a:bodyPr>
        <a:lstStyle/>
        <a:p>
          <a:pPr marL="171450" lvl="1" indent="-171450" algn="l" defTabSz="711200">
            <a:lnSpc>
              <a:spcPct val="90000"/>
            </a:lnSpc>
            <a:spcBef>
              <a:spcPct val="0"/>
            </a:spcBef>
            <a:spcAft>
              <a:spcPct val="15000"/>
            </a:spcAft>
            <a:buChar char="•"/>
          </a:pPr>
          <a:r>
            <a:rPr lang="el-GR" sz="1600" kern="1200" dirty="0"/>
            <a:t>Συλλογή εισφορών για τη 2</a:t>
          </a:r>
          <a:r>
            <a:rPr lang="el-GR" sz="1600" kern="1200" baseline="30000" dirty="0"/>
            <a:t>η</a:t>
          </a:r>
          <a:r>
            <a:rPr lang="el-GR" sz="1600" kern="1200" dirty="0"/>
            <a:t> φάση</a:t>
          </a:r>
        </a:p>
      </dsp:txBody>
      <dsp:txXfrm rot="-5400000">
        <a:off x="2034315" y="3269919"/>
        <a:ext cx="6022901" cy="852590"/>
      </dsp:txXfrm>
    </dsp:sp>
    <dsp:sp modelId="{EA7BC595-A8F0-4156-B8FF-CBB4EE84E96B}">
      <dsp:nvSpPr>
        <dsp:cNvPr id="0" name=""/>
        <dsp:cNvSpPr/>
      </dsp:nvSpPr>
      <dsp:spPr>
        <a:xfrm>
          <a:off x="99667" y="3297819"/>
          <a:ext cx="1882120" cy="867493"/>
        </a:xfrm>
        <a:prstGeom prst="roundRect">
          <a:avLst/>
        </a:prstGeom>
        <a:solidFill>
          <a:schemeClr val="accent6"/>
        </a:solidFill>
        <a:ln w="25400"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91440" tIns="45720" rIns="91440" bIns="45720" numCol="1" spcCol="1270" anchor="ctr" anchorCtr="0">
          <a:noAutofit/>
        </a:bodyPr>
        <a:lstStyle/>
        <a:p>
          <a:pPr marL="0" lvl="0" indent="0" algn="ctr" defTabSz="1066800">
            <a:lnSpc>
              <a:spcPct val="90000"/>
            </a:lnSpc>
            <a:spcBef>
              <a:spcPct val="0"/>
            </a:spcBef>
            <a:spcAft>
              <a:spcPct val="35000"/>
            </a:spcAft>
            <a:buNone/>
          </a:pPr>
          <a:r>
            <a:rPr lang="el-GR" sz="2400" b="1" kern="1200" dirty="0"/>
            <a:t>Μάρτιος  </a:t>
          </a:r>
        </a:p>
        <a:p>
          <a:pPr marL="0" lvl="0" indent="0" algn="ctr" defTabSz="1066800">
            <a:lnSpc>
              <a:spcPct val="90000"/>
            </a:lnSpc>
            <a:spcBef>
              <a:spcPct val="0"/>
            </a:spcBef>
            <a:spcAft>
              <a:spcPct val="35000"/>
            </a:spcAft>
            <a:buNone/>
          </a:pPr>
          <a:r>
            <a:rPr lang="el-GR" sz="2400" b="1" kern="1200" dirty="0"/>
            <a:t>2020</a:t>
          </a:r>
        </a:p>
      </dsp:txBody>
      <dsp:txXfrm>
        <a:off x="142015" y="3340167"/>
        <a:ext cx="1797424" cy="782797"/>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FBD992-35E0-4F6B-881F-0407213D2633}">
      <dsp:nvSpPr>
        <dsp:cNvPr id="0" name=""/>
        <dsp:cNvSpPr/>
      </dsp:nvSpPr>
      <dsp:spPr>
        <a:xfrm>
          <a:off x="0" y="103419"/>
          <a:ext cx="8378455" cy="5642598"/>
        </a:xfrm>
        <a:prstGeom prst="rect">
          <a:avLst/>
        </a:prstGeom>
        <a:solidFill>
          <a:schemeClr val="accent6">
            <a:lumMod val="20000"/>
            <a:lumOff val="80000"/>
            <a:alpha val="90000"/>
          </a:schemeClr>
        </a:solidFill>
        <a:ln w="25400" cap="flat" cmpd="sng" algn="ctr">
          <a:solidFill>
            <a:schemeClr val="accent2">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50261" tIns="712513" rIns="650261" bIns="128016" numCol="1" spcCol="1270" anchor="t" anchorCtr="0">
          <a:noAutofit/>
        </a:bodyPr>
        <a:lstStyle/>
        <a:p>
          <a:pPr marL="171450" lvl="1" indent="-171450" algn="l" defTabSz="800100">
            <a:lnSpc>
              <a:spcPct val="90000"/>
            </a:lnSpc>
            <a:spcBef>
              <a:spcPct val="0"/>
            </a:spcBef>
            <a:spcAft>
              <a:spcPct val="15000"/>
            </a:spcAft>
            <a:buChar char="•"/>
          </a:pPr>
          <a:endParaRPr lang="el-GR" sz="1800" kern="1200" dirty="0"/>
        </a:p>
        <a:p>
          <a:pPr marL="171450" lvl="1" indent="-171450" algn="l" defTabSz="800100">
            <a:lnSpc>
              <a:spcPct val="90000"/>
            </a:lnSpc>
            <a:spcBef>
              <a:spcPct val="0"/>
            </a:spcBef>
            <a:spcAft>
              <a:spcPct val="15000"/>
            </a:spcAft>
            <a:buChar char="•"/>
          </a:pPr>
          <a:r>
            <a:rPr lang="el-GR" sz="1800" kern="1200" dirty="0"/>
            <a:t>Καθολική κάλυψη για όλους από τη γέννηση μέχρι το θάνατο </a:t>
          </a:r>
        </a:p>
        <a:p>
          <a:pPr marL="171450" lvl="1" indent="-171450" algn="l" defTabSz="800100">
            <a:lnSpc>
              <a:spcPct val="90000"/>
            </a:lnSpc>
            <a:spcBef>
              <a:spcPct val="0"/>
            </a:spcBef>
            <a:spcAft>
              <a:spcPct val="15000"/>
            </a:spcAft>
            <a:buChar char="•"/>
          </a:pPr>
          <a:endParaRPr lang="en-GB" sz="1800" kern="1200" dirty="0"/>
        </a:p>
        <a:p>
          <a:pPr marL="171450" lvl="1" indent="-171450" algn="l" defTabSz="800100">
            <a:lnSpc>
              <a:spcPct val="90000"/>
            </a:lnSpc>
            <a:spcBef>
              <a:spcPct val="0"/>
            </a:spcBef>
            <a:spcAft>
              <a:spcPct val="15000"/>
            </a:spcAft>
            <a:buChar char="•"/>
          </a:pPr>
          <a:r>
            <a:rPr lang="el-GR" sz="1800" kern="1200" dirty="0"/>
            <a:t>Οικονομική προστασία </a:t>
          </a:r>
          <a:endParaRPr lang="en-GB" sz="1800" kern="1200" dirty="0"/>
        </a:p>
        <a:p>
          <a:pPr marL="171450" lvl="1" indent="-171450" algn="l" defTabSz="800100">
            <a:lnSpc>
              <a:spcPct val="90000"/>
            </a:lnSpc>
            <a:spcBef>
              <a:spcPct val="0"/>
            </a:spcBef>
            <a:spcAft>
              <a:spcPct val="15000"/>
            </a:spcAft>
            <a:buChar char="•"/>
          </a:pPr>
          <a:endParaRPr lang="en-GB" sz="1800" kern="1200" dirty="0"/>
        </a:p>
        <a:p>
          <a:pPr marL="171450" lvl="1" indent="-171450" algn="l" defTabSz="800100">
            <a:lnSpc>
              <a:spcPct val="90000"/>
            </a:lnSpc>
            <a:spcBef>
              <a:spcPct val="0"/>
            </a:spcBef>
            <a:spcAft>
              <a:spcPct val="15000"/>
            </a:spcAft>
            <a:buChar char="•"/>
          </a:pPr>
          <a:r>
            <a:rPr lang="el-GR" sz="1800" kern="1200" dirty="0"/>
            <a:t>Ελεύθερη επιλογή </a:t>
          </a:r>
          <a:r>
            <a:rPr lang="el-GR" sz="1800" kern="1200" dirty="0" err="1"/>
            <a:t>παροχέα</a:t>
          </a:r>
          <a:endParaRPr lang="en-GB" sz="1800" kern="1200" dirty="0"/>
        </a:p>
        <a:p>
          <a:pPr marL="171450" lvl="1" indent="-171450" algn="l" defTabSz="800100">
            <a:lnSpc>
              <a:spcPct val="90000"/>
            </a:lnSpc>
            <a:spcBef>
              <a:spcPct val="0"/>
            </a:spcBef>
            <a:spcAft>
              <a:spcPct val="15000"/>
            </a:spcAft>
            <a:buChar char="•"/>
          </a:pPr>
          <a:endParaRPr lang="en-GB" sz="1800" kern="1200" dirty="0"/>
        </a:p>
        <a:p>
          <a:pPr marL="171450" lvl="1" indent="-171450" algn="l" defTabSz="800100">
            <a:lnSpc>
              <a:spcPct val="90000"/>
            </a:lnSpc>
            <a:spcBef>
              <a:spcPct val="0"/>
            </a:spcBef>
            <a:spcAft>
              <a:spcPct val="15000"/>
            </a:spcAft>
            <a:buChar char="•"/>
          </a:pPr>
          <a:r>
            <a:rPr lang="el-GR" sz="1800" kern="1200" dirty="0"/>
            <a:t>Ολοκληρωμένο φάσμα υπηρεσιών υγείας</a:t>
          </a:r>
          <a:endParaRPr lang="en-GB" sz="1800" kern="1200" dirty="0"/>
        </a:p>
        <a:p>
          <a:pPr marL="171450" lvl="1" indent="-171450" algn="l" defTabSz="800100">
            <a:lnSpc>
              <a:spcPct val="90000"/>
            </a:lnSpc>
            <a:spcBef>
              <a:spcPct val="0"/>
            </a:spcBef>
            <a:spcAft>
              <a:spcPct val="15000"/>
            </a:spcAft>
            <a:buChar char="•"/>
          </a:pPr>
          <a:endParaRPr lang="en-GB" sz="1800" kern="1200" dirty="0"/>
        </a:p>
        <a:p>
          <a:pPr marL="171450" lvl="1" indent="-171450" algn="l" defTabSz="800100">
            <a:lnSpc>
              <a:spcPct val="90000"/>
            </a:lnSpc>
            <a:spcBef>
              <a:spcPct val="0"/>
            </a:spcBef>
            <a:spcAft>
              <a:spcPct val="15000"/>
            </a:spcAft>
            <a:buChar char="•"/>
          </a:pPr>
          <a:r>
            <a:rPr lang="el-GR" sz="1800" kern="1200" dirty="0"/>
            <a:t>Οργανωμένη πρόληψη</a:t>
          </a:r>
          <a:endParaRPr lang="en-GB" sz="1800" kern="1200" dirty="0"/>
        </a:p>
        <a:p>
          <a:pPr marL="171450" lvl="1" indent="-171450" algn="l" defTabSz="800100">
            <a:lnSpc>
              <a:spcPct val="90000"/>
            </a:lnSpc>
            <a:spcBef>
              <a:spcPct val="0"/>
            </a:spcBef>
            <a:spcAft>
              <a:spcPct val="15000"/>
            </a:spcAft>
            <a:buChar char="•"/>
          </a:pPr>
          <a:endParaRPr lang="en-GB" sz="1800" kern="1200" dirty="0"/>
        </a:p>
        <a:p>
          <a:pPr marL="171450" lvl="1" indent="-171450" algn="l" defTabSz="800100">
            <a:lnSpc>
              <a:spcPct val="90000"/>
            </a:lnSpc>
            <a:spcBef>
              <a:spcPct val="0"/>
            </a:spcBef>
            <a:spcAft>
              <a:spcPct val="15000"/>
            </a:spcAft>
            <a:buChar char="•"/>
          </a:pPr>
          <a:r>
            <a:rPr lang="el-GR" sz="1800" kern="1200" dirty="0"/>
            <a:t>Δημιουργία Ηλεκτρονικού Φακέλου Ασθενή</a:t>
          </a:r>
          <a:endParaRPr lang="en-GB" sz="1800" kern="1200" dirty="0"/>
        </a:p>
        <a:p>
          <a:pPr marL="171450" lvl="1" indent="-171450" algn="l" defTabSz="800100">
            <a:lnSpc>
              <a:spcPct val="90000"/>
            </a:lnSpc>
            <a:spcBef>
              <a:spcPct val="0"/>
            </a:spcBef>
            <a:spcAft>
              <a:spcPct val="15000"/>
            </a:spcAft>
            <a:buChar char="•"/>
          </a:pPr>
          <a:endParaRPr lang="en-GB" sz="1800" kern="1200" dirty="0"/>
        </a:p>
        <a:p>
          <a:pPr marL="171450" lvl="1" indent="-171450" algn="l" defTabSz="800100">
            <a:lnSpc>
              <a:spcPct val="90000"/>
            </a:lnSpc>
            <a:spcBef>
              <a:spcPct val="0"/>
            </a:spcBef>
            <a:spcAft>
              <a:spcPct val="15000"/>
            </a:spcAft>
            <a:buChar char="•"/>
          </a:pPr>
          <a:r>
            <a:rPr lang="el-GR" sz="1800" kern="1200" dirty="0"/>
            <a:t>Διαφάνεια</a:t>
          </a:r>
          <a:endParaRPr lang="en-GB" sz="1800" kern="1200" dirty="0"/>
        </a:p>
        <a:p>
          <a:pPr marL="171450" lvl="1" indent="-171450" algn="l" defTabSz="800100">
            <a:lnSpc>
              <a:spcPct val="90000"/>
            </a:lnSpc>
            <a:spcBef>
              <a:spcPct val="0"/>
            </a:spcBef>
            <a:spcAft>
              <a:spcPct val="15000"/>
            </a:spcAft>
            <a:buChar char="•"/>
          </a:pPr>
          <a:endParaRPr lang="en-GB" sz="1800" kern="1200" dirty="0"/>
        </a:p>
        <a:p>
          <a:pPr marL="171450" lvl="1" indent="-171450" algn="l" defTabSz="800100">
            <a:lnSpc>
              <a:spcPct val="90000"/>
            </a:lnSpc>
            <a:spcBef>
              <a:spcPct val="0"/>
            </a:spcBef>
            <a:spcAft>
              <a:spcPct val="15000"/>
            </a:spcAft>
            <a:buChar char="•"/>
          </a:pPr>
          <a:r>
            <a:rPr lang="el-GR" sz="1800" kern="1200" dirty="0"/>
            <a:t>Μηχανισμοί Ελέγχου και Εποπτείας</a:t>
          </a:r>
          <a:endParaRPr lang="en-GB" sz="1800" kern="1200" dirty="0"/>
        </a:p>
      </dsp:txBody>
      <dsp:txXfrm>
        <a:off x="0" y="103419"/>
        <a:ext cx="8378455" cy="5642598"/>
      </dsp:txXfrm>
    </dsp:sp>
    <dsp:sp modelId="{BF8B7000-A51B-4F51-A772-501A4DB964BB}">
      <dsp:nvSpPr>
        <dsp:cNvPr id="0" name=""/>
        <dsp:cNvSpPr/>
      </dsp:nvSpPr>
      <dsp:spPr>
        <a:xfrm>
          <a:off x="0" y="0"/>
          <a:ext cx="7803270" cy="615769"/>
        </a:xfrm>
        <a:prstGeom prst="roundRect">
          <a:avLst/>
        </a:prstGeom>
        <a:solidFill>
          <a:srgbClr val="6980B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1680" tIns="0" rIns="221680" bIns="0" numCol="1" spcCol="1270" anchor="ctr" anchorCtr="0">
          <a:noAutofit/>
        </a:bodyPr>
        <a:lstStyle/>
        <a:p>
          <a:pPr marL="0" lvl="0" indent="0" algn="l" defTabSz="889000">
            <a:lnSpc>
              <a:spcPct val="90000"/>
            </a:lnSpc>
            <a:spcBef>
              <a:spcPct val="0"/>
            </a:spcBef>
            <a:spcAft>
              <a:spcPct val="35000"/>
            </a:spcAft>
            <a:buNone/>
          </a:pPr>
          <a:r>
            <a:rPr lang="el-GR" sz="2000" b="1" kern="1200" dirty="0">
              <a:solidFill>
                <a:schemeClr val="bg1"/>
              </a:solidFill>
            </a:rPr>
            <a:t>Οφέλη για το δικαιούχο</a:t>
          </a:r>
          <a:endParaRPr lang="en-GB" sz="2000" b="1" kern="1200" dirty="0">
            <a:solidFill>
              <a:schemeClr val="bg1"/>
            </a:solidFill>
          </a:endParaRPr>
        </a:p>
      </dsp:txBody>
      <dsp:txXfrm>
        <a:off x="30059" y="30059"/>
        <a:ext cx="7743152" cy="5556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B53263-5288-4F7B-A8D2-D8FB8D17DE52}">
      <dsp:nvSpPr>
        <dsp:cNvPr id="0" name=""/>
        <dsp:cNvSpPr/>
      </dsp:nvSpPr>
      <dsp:spPr>
        <a:xfrm>
          <a:off x="0" y="361308"/>
          <a:ext cx="8172450" cy="1701000"/>
        </a:xfrm>
        <a:prstGeom prst="rect">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34273" tIns="499872" rIns="634273" bIns="170688" numCol="1" spcCol="1270" anchor="t" anchorCtr="0">
          <a:noAutofit/>
        </a:bodyPr>
        <a:lstStyle/>
        <a:p>
          <a:pPr marL="228600" lvl="1" indent="-228600" algn="l" defTabSz="1066800">
            <a:lnSpc>
              <a:spcPct val="90000"/>
            </a:lnSpc>
            <a:spcBef>
              <a:spcPct val="0"/>
            </a:spcBef>
            <a:spcAft>
              <a:spcPct val="15000"/>
            </a:spcAft>
            <a:buChar char="•"/>
          </a:pPr>
          <a:r>
            <a:rPr lang="el-GR" sz="2400" kern="1200" dirty="0">
              <a:sym typeface="Wingdings"/>
            </a:rPr>
            <a:t>Ο τομέας της υγείας να καταρρέει</a:t>
          </a:r>
          <a:endParaRPr lang="en-GB" sz="2400" kern="1200" dirty="0"/>
        </a:p>
        <a:p>
          <a:pPr marL="228600" lvl="1" indent="-228600" algn="l" defTabSz="1066800">
            <a:lnSpc>
              <a:spcPct val="90000"/>
            </a:lnSpc>
            <a:spcBef>
              <a:spcPct val="0"/>
            </a:spcBef>
            <a:spcAft>
              <a:spcPct val="15000"/>
            </a:spcAft>
            <a:buChar char="•"/>
          </a:pPr>
          <a:r>
            <a:rPr lang="el-GR" sz="2400" kern="1200" dirty="0">
              <a:sym typeface="Wingdings"/>
            </a:rPr>
            <a:t>Η ανάγκη για συνολική μεταρρύθμιση είναι </a:t>
          </a:r>
          <a:r>
            <a:rPr lang="el-GR" sz="2400" u="sng" kern="1200" dirty="0">
              <a:sym typeface="Wingdings"/>
            </a:rPr>
            <a:t>επιτακτική</a:t>
          </a:r>
          <a:r>
            <a:rPr lang="el-GR" sz="2400" kern="1200" dirty="0">
              <a:sym typeface="Wingdings"/>
            </a:rPr>
            <a:t> και </a:t>
          </a:r>
          <a:r>
            <a:rPr lang="el-GR" sz="2400" u="sng" kern="1200" dirty="0">
              <a:sym typeface="Wingdings"/>
            </a:rPr>
            <a:t>άμεση</a:t>
          </a:r>
          <a:endParaRPr lang="en-GB" sz="2400" kern="1200" dirty="0"/>
        </a:p>
      </dsp:txBody>
      <dsp:txXfrm>
        <a:off x="0" y="361308"/>
        <a:ext cx="8172450" cy="1701000"/>
      </dsp:txXfrm>
    </dsp:sp>
    <dsp:sp modelId="{C4D86899-CCBB-42BF-82E2-3DAA5CD3CA2B}">
      <dsp:nvSpPr>
        <dsp:cNvPr id="0" name=""/>
        <dsp:cNvSpPr/>
      </dsp:nvSpPr>
      <dsp:spPr>
        <a:xfrm>
          <a:off x="408622" y="7068"/>
          <a:ext cx="5720715" cy="708480"/>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6229" tIns="0" rIns="216229" bIns="0" numCol="1" spcCol="1270" anchor="ctr" anchorCtr="0">
          <a:noAutofit/>
        </a:bodyPr>
        <a:lstStyle/>
        <a:p>
          <a:pPr marL="0" lvl="0" indent="0" algn="l" defTabSz="1066800">
            <a:lnSpc>
              <a:spcPct val="90000"/>
            </a:lnSpc>
            <a:spcBef>
              <a:spcPct val="0"/>
            </a:spcBef>
            <a:spcAft>
              <a:spcPct val="35000"/>
            </a:spcAft>
            <a:buNone/>
          </a:pPr>
          <a:r>
            <a:rPr lang="el-GR" sz="2400" kern="1200" dirty="0">
              <a:sym typeface="Wingdings"/>
            </a:rPr>
            <a:t>Έχουν ως αποτέλεσμα:</a:t>
          </a:r>
          <a:endParaRPr lang="en-GB" sz="2400" kern="1200" dirty="0"/>
        </a:p>
      </dsp:txBody>
      <dsp:txXfrm>
        <a:off x="443207" y="41653"/>
        <a:ext cx="5651545" cy="63931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AB2157-E36E-44E3-A692-FA797B31242C}">
      <dsp:nvSpPr>
        <dsp:cNvPr id="0" name=""/>
        <dsp:cNvSpPr/>
      </dsp:nvSpPr>
      <dsp:spPr>
        <a:xfrm rot="5400000">
          <a:off x="-120286" y="128453"/>
          <a:ext cx="801911" cy="561337"/>
        </a:xfrm>
        <a:prstGeom prst="chevron">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l-GR" sz="1600" kern="1200" dirty="0"/>
            <a:t>1991</a:t>
          </a:r>
          <a:endParaRPr lang="en-US" sz="1600" kern="1200" dirty="0"/>
        </a:p>
      </dsp:txBody>
      <dsp:txXfrm rot="-5400000">
        <a:off x="2" y="288835"/>
        <a:ext cx="561337" cy="240574"/>
      </dsp:txXfrm>
    </dsp:sp>
    <dsp:sp modelId="{0B6E0F5E-126C-4483-9CD2-E4ACFFAAA74A}">
      <dsp:nvSpPr>
        <dsp:cNvPr id="0" name=""/>
        <dsp:cNvSpPr/>
      </dsp:nvSpPr>
      <dsp:spPr>
        <a:xfrm rot="5400000">
          <a:off x="3960305" y="-3390801"/>
          <a:ext cx="521242" cy="7319178"/>
        </a:xfrm>
        <a:prstGeom prst="round2SameRect">
          <a:avLst/>
        </a:prstGeom>
        <a:solidFill>
          <a:schemeClr val="accent2">
            <a:lumMod val="40000"/>
            <a:lumOff val="60000"/>
            <a:alpha val="90000"/>
          </a:schemeClr>
        </a:solidFill>
        <a:ln w="25400" cap="flat" cmpd="sng" algn="ctr">
          <a:solidFill>
            <a:schemeClr val="accent6">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l-GR" sz="1600" b="0" kern="1200" dirty="0"/>
            <a:t>1991 -1993</a:t>
          </a:r>
          <a:r>
            <a:rPr lang="en-GB" sz="1600" b="0" kern="1200" dirty="0"/>
            <a:t>:</a:t>
          </a:r>
          <a:r>
            <a:rPr lang="el-GR" sz="1600" b="0" kern="1200" dirty="0"/>
            <a:t> Πρώτες μελέτες για το ΓεΣΥ</a:t>
          </a:r>
        </a:p>
      </dsp:txBody>
      <dsp:txXfrm rot="-5400000">
        <a:off x="561338" y="33611"/>
        <a:ext cx="7293733" cy="470352"/>
      </dsp:txXfrm>
    </dsp:sp>
    <dsp:sp modelId="{8A2CBED0-8A28-44FD-9ECF-A3DD685FC8FF}">
      <dsp:nvSpPr>
        <dsp:cNvPr id="0" name=""/>
        <dsp:cNvSpPr/>
      </dsp:nvSpPr>
      <dsp:spPr>
        <a:xfrm rot="5400000">
          <a:off x="-120286" y="857851"/>
          <a:ext cx="801911" cy="561337"/>
        </a:xfrm>
        <a:prstGeom prst="chevron">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l-GR" sz="1600" kern="1200" dirty="0"/>
            <a:t>2001</a:t>
          </a:r>
          <a:endParaRPr lang="en-US" sz="1600" kern="1200" dirty="0"/>
        </a:p>
      </dsp:txBody>
      <dsp:txXfrm rot="-5400000">
        <a:off x="2" y="1018233"/>
        <a:ext cx="561337" cy="240574"/>
      </dsp:txXfrm>
    </dsp:sp>
    <dsp:sp modelId="{8705FF35-A77F-4C47-B60C-2B9A7476F7D2}">
      <dsp:nvSpPr>
        <dsp:cNvPr id="0" name=""/>
        <dsp:cNvSpPr/>
      </dsp:nvSpPr>
      <dsp:spPr>
        <a:xfrm rot="5400000">
          <a:off x="3960305" y="-2661402"/>
          <a:ext cx="521242" cy="7319178"/>
        </a:xfrm>
        <a:prstGeom prst="round2SameRect">
          <a:avLst/>
        </a:prstGeom>
        <a:solidFill>
          <a:schemeClr val="accent2">
            <a:lumMod val="40000"/>
            <a:lumOff val="60000"/>
            <a:alpha val="90000"/>
          </a:schemeClr>
        </a:solidFill>
        <a:ln w="25400" cap="flat" cmpd="sng" algn="ctr">
          <a:solidFill>
            <a:schemeClr val="accent6">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l-GR" sz="1600" b="0" kern="1200" dirty="0"/>
            <a:t>Ψήφιση βασικού νόμου για το ΓεΣΥ</a:t>
          </a:r>
          <a:endParaRPr lang="en-US" sz="1600" b="0" kern="1200" dirty="0"/>
        </a:p>
      </dsp:txBody>
      <dsp:txXfrm rot="-5400000">
        <a:off x="561338" y="763010"/>
        <a:ext cx="7293733" cy="470352"/>
      </dsp:txXfrm>
    </dsp:sp>
    <dsp:sp modelId="{32014AED-CE3F-42B6-BB3C-7C4162E2A76D}">
      <dsp:nvSpPr>
        <dsp:cNvPr id="0" name=""/>
        <dsp:cNvSpPr/>
      </dsp:nvSpPr>
      <dsp:spPr>
        <a:xfrm rot="5400000">
          <a:off x="-120286" y="1587250"/>
          <a:ext cx="801911" cy="561337"/>
        </a:xfrm>
        <a:prstGeom prst="chevron">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l-GR" sz="1600" kern="1200" dirty="0"/>
            <a:t>2003</a:t>
          </a:r>
          <a:endParaRPr lang="en-US" sz="1600" kern="1200" dirty="0"/>
        </a:p>
      </dsp:txBody>
      <dsp:txXfrm rot="-5400000">
        <a:off x="2" y="1747632"/>
        <a:ext cx="561337" cy="240574"/>
      </dsp:txXfrm>
    </dsp:sp>
    <dsp:sp modelId="{4F10B2C1-49A4-41E2-86C4-8AA49ADCC822}">
      <dsp:nvSpPr>
        <dsp:cNvPr id="0" name=""/>
        <dsp:cNvSpPr/>
      </dsp:nvSpPr>
      <dsp:spPr>
        <a:xfrm rot="5400000">
          <a:off x="3960305" y="-1932004"/>
          <a:ext cx="521242" cy="7319178"/>
        </a:xfrm>
        <a:prstGeom prst="round2SameRect">
          <a:avLst/>
        </a:prstGeom>
        <a:solidFill>
          <a:schemeClr val="accent2">
            <a:lumMod val="40000"/>
            <a:lumOff val="60000"/>
            <a:alpha val="90000"/>
          </a:schemeClr>
        </a:solidFill>
        <a:ln w="25400" cap="flat" cmpd="sng" algn="ctr">
          <a:solidFill>
            <a:schemeClr val="accent6">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l-GR" sz="1600" b="0" kern="1200" dirty="0"/>
            <a:t>Δημιουργία ΟΑΥ</a:t>
          </a:r>
          <a:endParaRPr lang="en-US" sz="1600" b="0" kern="1200" dirty="0"/>
        </a:p>
      </dsp:txBody>
      <dsp:txXfrm rot="-5400000">
        <a:off x="561338" y="1492408"/>
        <a:ext cx="7293733" cy="470352"/>
      </dsp:txXfrm>
    </dsp:sp>
    <dsp:sp modelId="{512B9375-3AF3-4F1A-87ED-A183CB44D927}">
      <dsp:nvSpPr>
        <dsp:cNvPr id="0" name=""/>
        <dsp:cNvSpPr/>
      </dsp:nvSpPr>
      <dsp:spPr>
        <a:xfrm rot="5400000">
          <a:off x="-120286" y="2316648"/>
          <a:ext cx="801911" cy="561337"/>
        </a:xfrm>
        <a:prstGeom prst="chevron">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n-GB" sz="1600" kern="1200" dirty="0"/>
            <a:t>2007</a:t>
          </a:r>
          <a:endParaRPr lang="en-US" sz="1600" kern="1200" dirty="0"/>
        </a:p>
      </dsp:txBody>
      <dsp:txXfrm rot="-5400000">
        <a:off x="2" y="2477030"/>
        <a:ext cx="561337" cy="240574"/>
      </dsp:txXfrm>
    </dsp:sp>
    <dsp:sp modelId="{D52CFA90-BC2C-4F7A-8ADE-D2648682BD70}">
      <dsp:nvSpPr>
        <dsp:cNvPr id="0" name=""/>
        <dsp:cNvSpPr/>
      </dsp:nvSpPr>
      <dsp:spPr>
        <a:xfrm rot="5400000">
          <a:off x="3960305" y="-1202605"/>
          <a:ext cx="521242" cy="7319178"/>
        </a:xfrm>
        <a:prstGeom prst="round2SameRect">
          <a:avLst/>
        </a:prstGeom>
        <a:solidFill>
          <a:schemeClr val="accent2">
            <a:lumMod val="40000"/>
            <a:lumOff val="60000"/>
            <a:alpha val="90000"/>
          </a:schemeClr>
        </a:solidFill>
        <a:ln w="25400" cap="flat" cmpd="sng" algn="ctr">
          <a:solidFill>
            <a:schemeClr val="accent6">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l-GR" sz="1600" b="0" kern="1200" dirty="0"/>
            <a:t>Μελέτη Στρατηγικής </a:t>
          </a:r>
          <a:r>
            <a:rPr lang="en-US" sz="1600" b="0" kern="1200" dirty="0"/>
            <a:t> </a:t>
          </a:r>
          <a:r>
            <a:rPr lang="el-GR" sz="1600" b="0" kern="1200" dirty="0"/>
            <a:t>για την εφαρμογή του ΓεΣΥ από οίκο </a:t>
          </a:r>
          <a:r>
            <a:rPr lang="en-GB" sz="1600" b="0" kern="1200" dirty="0"/>
            <a:t>McKinsey</a:t>
          </a:r>
          <a:endParaRPr lang="en-US" sz="1600" b="0" kern="1200" dirty="0"/>
        </a:p>
      </dsp:txBody>
      <dsp:txXfrm rot="-5400000">
        <a:off x="561338" y="2221807"/>
        <a:ext cx="7293733" cy="470352"/>
      </dsp:txXfrm>
    </dsp:sp>
    <dsp:sp modelId="{8819AC01-1D14-4215-BF96-96F0502A6E76}">
      <dsp:nvSpPr>
        <dsp:cNvPr id="0" name=""/>
        <dsp:cNvSpPr/>
      </dsp:nvSpPr>
      <dsp:spPr>
        <a:xfrm rot="5400000">
          <a:off x="-120286" y="3046047"/>
          <a:ext cx="801911" cy="561337"/>
        </a:xfrm>
        <a:prstGeom prst="chevron">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l-GR" sz="1600" kern="1200" dirty="0"/>
            <a:t>2013</a:t>
          </a:r>
          <a:endParaRPr lang="en-US" sz="1600" kern="1200" dirty="0"/>
        </a:p>
      </dsp:txBody>
      <dsp:txXfrm rot="-5400000">
        <a:off x="2" y="3206429"/>
        <a:ext cx="561337" cy="240574"/>
      </dsp:txXfrm>
    </dsp:sp>
    <dsp:sp modelId="{92DB8D50-116E-466F-888E-0A8E1779A763}">
      <dsp:nvSpPr>
        <dsp:cNvPr id="0" name=""/>
        <dsp:cNvSpPr/>
      </dsp:nvSpPr>
      <dsp:spPr>
        <a:xfrm rot="5400000">
          <a:off x="3960305" y="-473207"/>
          <a:ext cx="521242" cy="7319178"/>
        </a:xfrm>
        <a:prstGeom prst="round2SameRect">
          <a:avLst/>
        </a:prstGeom>
        <a:solidFill>
          <a:schemeClr val="accent2">
            <a:lumMod val="40000"/>
            <a:lumOff val="60000"/>
            <a:alpha val="90000"/>
          </a:schemeClr>
        </a:solidFill>
        <a:ln w="25400" cap="flat" cmpd="sng" algn="ctr">
          <a:solidFill>
            <a:schemeClr val="accent6">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l-GR" sz="1600" b="0" kern="1200" dirty="0"/>
            <a:t>Εισηγήσεις Ευρωπαϊκής Επιτροπής</a:t>
          </a:r>
          <a:endParaRPr lang="en-US" sz="1100" b="0" kern="1200" dirty="0"/>
        </a:p>
        <a:p>
          <a:pPr marL="171450" lvl="1" indent="-171450" algn="l" defTabSz="711200">
            <a:lnSpc>
              <a:spcPct val="90000"/>
            </a:lnSpc>
            <a:spcBef>
              <a:spcPct val="0"/>
            </a:spcBef>
            <a:spcAft>
              <a:spcPct val="15000"/>
            </a:spcAft>
            <a:buChar char="•"/>
          </a:pPr>
          <a:r>
            <a:rPr lang="el-GR" sz="1600" b="0" kern="1200" dirty="0"/>
            <a:t>Αναλογιστική μελέτη  </a:t>
          </a:r>
          <a:r>
            <a:rPr lang="en-GB" sz="1600" b="0" kern="1200" dirty="0"/>
            <a:t>Mercer</a:t>
          </a:r>
          <a:endParaRPr lang="en-US" sz="1600" b="0" kern="1200" dirty="0"/>
        </a:p>
      </dsp:txBody>
      <dsp:txXfrm rot="-5400000">
        <a:off x="561338" y="2951205"/>
        <a:ext cx="7293733" cy="470352"/>
      </dsp:txXfrm>
    </dsp:sp>
    <dsp:sp modelId="{091E03D2-6907-49F1-A36E-6D40DD459173}">
      <dsp:nvSpPr>
        <dsp:cNvPr id="0" name=""/>
        <dsp:cNvSpPr/>
      </dsp:nvSpPr>
      <dsp:spPr>
        <a:xfrm rot="5400000">
          <a:off x="-120286" y="3775445"/>
          <a:ext cx="801911" cy="561337"/>
        </a:xfrm>
        <a:prstGeom prst="chevron">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l-GR" sz="1600" kern="1200" dirty="0"/>
            <a:t>2014</a:t>
          </a:r>
          <a:endParaRPr lang="en-US" sz="1600" kern="1200" dirty="0"/>
        </a:p>
      </dsp:txBody>
      <dsp:txXfrm rot="-5400000">
        <a:off x="2" y="3935827"/>
        <a:ext cx="561337" cy="240574"/>
      </dsp:txXfrm>
    </dsp:sp>
    <dsp:sp modelId="{6908C287-F531-4E65-97D0-5C050E6D148B}">
      <dsp:nvSpPr>
        <dsp:cNvPr id="0" name=""/>
        <dsp:cNvSpPr/>
      </dsp:nvSpPr>
      <dsp:spPr>
        <a:xfrm rot="5400000">
          <a:off x="3960305" y="256191"/>
          <a:ext cx="521242" cy="7319178"/>
        </a:xfrm>
        <a:prstGeom prst="round2SameRect">
          <a:avLst/>
        </a:prstGeom>
        <a:solidFill>
          <a:schemeClr val="accent2">
            <a:lumMod val="40000"/>
            <a:lumOff val="60000"/>
            <a:alpha val="90000"/>
          </a:schemeClr>
        </a:solidFill>
        <a:ln w="25400" cap="flat" cmpd="sng" algn="ctr">
          <a:solidFill>
            <a:schemeClr val="accent6">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l-GR" sz="1600" b="0" kern="1200" dirty="0">
              <a:solidFill>
                <a:schemeClr val="tx1"/>
              </a:solidFill>
              <a:latin typeface="+mn-lt"/>
              <a:ea typeface="ＭＳ Ｐゴシック" pitchFamily="34" charset="-128"/>
            </a:rPr>
            <a:t>Μελέτη από την Παγκόσμια Τράπεζα </a:t>
          </a:r>
          <a:endParaRPr lang="en-US" sz="1600" b="0" kern="1200" dirty="0"/>
        </a:p>
      </dsp:txBody>
      <dsp:txXfrm rot="-5400000">
        <a:off x="561338" y="3680604"/>
        <a:ext cx="7293733" cy="470352"/>
      </dsp:txXfrm>
    </dsp:sp>
    <dsp:sp modelId="{C97DE1F4-EF02-4CFE-A758-DA59AF5DDA96}">
      <dsp:nvSpPr>
        <dsp:cNvPr id="0" name=""/>
        <dsp:cNvSpPr/>
      </dsp:nvSpPr>
      <dsp:spPr>
        <a:xfrm rot="5400000">
          <a:off x="-120286" y="4504844"/>
          <a:ext cx="801911" cy="561337"/>
        </a:xfrm>
        <a:prstGeom prst="chevron">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l-GR" sz="1600" kern="1200" dirty="0"/>
            <a:t>2015</a:t>
          </a:r>
          <a:endParaRPr lang="en-US" sz="1600" kern="1200" dirty="0"/>
        </a:p>
      </dsp:txBody>
      <dsp:txXfrm rot="-5400000">
        <a:off x="2" y="4665226"/>
        <a:ext cx="561337" cy="240574"/>
      </dsp:txXfrm>
    </dsp:sp>
    <dsp:sp modelId="{0805DA78-84EE-4B05-8591-66B5397BBB6A}">
      <dsp:nvSpPr>
        <dsp:cNvPr id="0" name=""/>
        <dsp:cNvSpPr/>
      </dsp:nvSpPr>
      <dsp:spPr>
        <a:xfrm rot="5400000">
          <a:off x="3960305" y="985589"/>
          <a:ext cx="521242" cy="7319178"/>
        </a:xfrm>
        <a:prstGeom prst="round2SameRect">
          <a:avLst/>
        </a:prstGeom>
        <a:solidFill>
          <a:schemeClr val="accent2">
            <a:lumMod val="40000"/>
            <a:lumOff val="60000"/>
            <a:alpha val="90000"/>
          </a:schemeClr>
        </a:solidFill>
        <a:ln w="25400" cap="flat" cmpd="sng" algn="ctr">
          <a:solidFill>
            <a:schemeClr val="accent6">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l-GR" sz="1600" b="0" kern="1200" dirty="0">
              <a:solidFill>
                <a:schemeClr val="tx1"/>
              </a:solidFill>
              <a:latin typeface="+mn-lt"/>
              <a:ea typeface="ＭＳ Ｐゴシック" pitchFamily="34" charset="-128"/>
            </a:rPr>
            <a:t>Μελέτη από τον Παγκόσμιο Οργανισμό Υγείας</a:t>
          </a:r>
          <a:endParaRPr lang="en-US" sz="1600" b="0" kern="1200" dirty="0"/>
        </a:p>
      </dsp:txBody>
      <dsp:txXfrm rot="-5400000">
        <a:off x="561338" y="4410002"/>
        <a:ext cx="7293733" cy="470352"/>
      </dsp:txXfrm>
    </dsp:sp>
    <dsp:sp modelId="{834E0097-FAB4-479F-8387-69D9C1239914}">
      <dsp:nvSpPr>
        <dsp:cNvPr id="0" name=""/>
        <dsp:cNvSpPr/>
      </dsp:nvSpPr>
      <dsp:spPr>
        <a:xfrm rot="5400000">
          <a:off x="-120286" y="5234242"/>
          <a:ext cx="801911" cy="561337"/>
        </a:xfrm>
        <a:prstGeom prst="chevron">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ctr" defTabSz="711200">
            <a:lnSpc>
              <a:spcPct val="90000"/>
            </a:lnSpc>
            <a:spcBef>
              <a:spcPct val="0"/>
            </a:spcBef>
            <a:spcAft>
              <a:spcPct val="35000"/>
            </a:spcAft>
            <a:buNone/>
          </a:pPr>
          <a:r>
            <a:rPr lang="el-GR" sz="1600" kern="1200" dirty="0"/>
            <a:t>2017</a:t>
          </a:r>
          <a:endParaRPr lang="en-US" sz="1600" kern="1200" dirty="0"/>
        </a:p>
      </dsp:txBody>
      <dsp:txXfrm rot="-5400000">
        <a:off x="2" y="5394624"/>
        <a:ext cx="561337" cy="240574"/>
      </dsp:txXfrm>
    </dsp:sp>
    <dsp:sp modelId="{70955FFE-CE81-43BC-81BA-3BF1F31EA349}">
      <dsp:nvSpPr>
        <dsp:cNvPr id="0" name=""/>
        <dsp:cNvSpPr/>
      </dsp:nvSpPr>
      <dsp:spPr>
        <a:xfrm rot="5400000">
          <a:off x="3960305" y="1714988"/>
          <a:ext cx="521242" cy="7319178"/>
        </a:xfrm>
        <a:prstGeom prst="round2SameRect">
          <a:avLst/>
        </a:prstGeom>
        <a:solidFill>
          <a:schemeClr val="accent2">
            <a:lumMod val="20000"/>
            <a:lumOff val="80000"/>
            <a:alpha val="90000"/>
          </a:schemeClr>
        </a:solidFill>
        <a:ln w="25400" cap="flat" cmpd="sng" algn="ctr">
          <a:solidFill>
            <a:schemeClr val="accent6">
              <a:hueOff val="0"/>
              <a:satOff val="0"/>
              <a:lumOff val="0"/>
              <a:alphaOff val="0"/>
            </a:schemeClr>
          </a:solidFill>
          <a:prstDash val="solid"/>
        </a:ln>
        <a:effectLst>
          <a:outerShdw blurRad="50800" dist="38100" dir="2700000" algn="tl" rotWithShape="0">
            <a:schemeClr val="tx2">
              <a:alpha val="40000"/>
            </a:schemeClr>
          </a:outerShdw>
        </a:effectLst>
      </dsp:spPr>
      <dsp:style>
        <a:lnRef idx="2">
          <a:scrgbClr r="0" g="0" b="0"/>
        </a:lnRef>
        <a:fillRef idx="1">
          <a:scrgbClr r="0" g="0" b="0"/>
        </a:fillRef>
        <a:effectRef idx="0">
          <a:scrgbClr r="0" g="0" b="0"/>
        </a:effectRef>
        <a:fontRef idx="minor"/>
      </dsp:style>
      <dsp:txBody>
        <a:bodyPr spcFirstLastPara="0" vert="horz" wrap="square" lIns="113792" tIns="10160" rIns="10160" bIns="10160" numCol="1" spcCol="1270" anchor="ctr" anchorCtr="0">
          <a:noAutofit/>
        </a:bodyPr>
        <a:lstStyle/>
        <a:p>
          <a:pPr marL="171450" lvl="1" indent="-171450" algn="l" defTabSz="711200">
            <a:lnSpc>
              <a:spcPct val="90000"/>
            </a:lnSpc>
            <a:spcBef>
              <a:spcPct val="0"/>
            </a:spcBef>
            <a:spcAft>
              <a:spcPct val="15000"/>
            </a:spcAft>
            <a:buChar char="•"/>
          </a:pPr>
          <a:r>
            <a:rPr lang="el-GR" sz="1600" b="0" kern="1200" dirty="0"/>
            <a:t>Ψήφιση Τροποποιητικού Νόμου για το ΓεΣΥ</a:t>
          </a:r>
          <a:endParaRPr lang="en-US" sz="1600" b="0" kern="1200" dirty="0"/>
        </a:p>
        <a:p>
          <a:pPr marL="171450" lvl="1" indent="-171450" algn="l" defTabSz="711200">
            <a:lnSpc>
              <a:spcPct val="90000"/>
            </a:lnSpc>
            <a:spcBef>
              <a:spcPct val="0"/>
            </a:spcBef>
            <a:spcAft>
              <a:spcPct val="15000"/>
            </a:spcAft>
            <a:buChar char="•"/>
          </a:pPr>
          <a:r>
            <a:rPr lang="el-GR" sz="1600" b="0" kern="1200" dirty="0"/>
            <a:t>Υπογραφή Συμβολαίου για το Σύστημα Πληροφορικής του ΓεΣΥ  </a:t>
          </a:r>
          <a:endParaRPr lang="en-US" sz="1600" b="0" kern="1200" dirty="0"/>
        </a:p>
      </dsp:txBody>
      <dsp:txXfrm rot="-5400000">
        <a:off x="561338" y="5139401"/>
        <a:ext cx="7293733" cy="47035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3FEBA7-9ED5-4628-91D8-AFD26EA1D25E}">
      <dsp:nvSpPr>
        <dsp:cNvPr id="0" name=""/>
        <dsp:cNvSpPr/>
      </dsp:nvSpPr>
      <dsp:spPr>
        <a:xfrm>
          <a:off x="0" y="1618"/>
          <a:ext cx="2577757" cy="1031103"/>
        </a:xfrm>
        <a:prstGeom prst="chevron">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l-GR" sz="2000" kern="1200" dirty="0"/>
            <a:t>Καθολικότητα</a:t>
          </a:r>
          <a:endParaRPr lang="en-GB" sz="2000" kern="1200" dirty="0"/>
        </a:p>
      </dsp:txBody>
      <dsp:txXfrm>
        <a:off x="515552" y="1618"/>
        <a:ext cx="1546654" cy="1031103"/>
      </dsp:txXfrm>
    </dsp:sp>
    <dsp:sp modelId="{63DC838A-2858-47BF-933C-28B0E87FAD2C}">
      <dsp:nvSpPr>
        <dsp:cNvPr id="0" name=""/>
        <dsp:cNvSpPr/>
      </dsp:nvSpPr>
      <dsp:spPr>
        <a:xfrm>
          <a:off x="2673898" y="89262"/>
          <a:ext cx="5021797" cy="855815"/>
        </a:xfrm>
        <a:prstGeom prst="roundRect">
          <a:avLst/>
        </a:prstGeom>
        <a:solidFill>
          <a:schemeClr val="accent6">
            <a:lumMod val="20000"/>
            <a:lumOff val="80000"/>
          </a:schemeClr>
        </a:soli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34290" tIns="17145" rIns="0" bIns="17145" numCol="1" spcCol="1270" anchor="ctr" anchorCtr="0">
          <a:noAutofit/>
        </a:bodyPr>
        <a:lstStyle/>
        <a:p>
          <a:pPr marL="0" lvl="0" indent="0" algn="ctr" defTabSz="1200150">
            <a:lnSpc>
              <a:spcPct val="90000"/>
            </a:lnSpc>
            <a:spcBef>
              <a:spcPct val="0"/>
            </a:spcBef>
            <a:spcAft>
              <a:spcPct val="35000"/>
            </a:spcAft>
            <a:buNone/>
          </a:pPr>
          <a:r>
            <a:rPr lang="el-GR" sz="2700" kern="1200" dirty="0"/>
            <a:t>Κάλυψη όλου του πληθυσμού </a:t>
          </a:r>
          <a:endParaRPr lang="en-GB" sz="2700" kern="1200" dirty="0"/>
        </a:p>
      </dsp:txBody>
      <dsp:txXfrm>
        <a:off x="2715675" y="131039"/>
        <a:ext cx="4938243" cy="772261"/>
      </dsp:txXfrm>
    </dsp:sp>
    <dsp:sp modelId="{48D9A5AB-BD8B-4BAC-9B64-2E7F7BCF5165}">
      <dsp:nvSpPr>
        <dsp:cNvPr id="0" name=""/>
        <dsp:cNvSpPr/>
      </dsp:nvSpPr>
      <dsp:spPr>
        <a:xfrm>
          <a:off x="0" y="1177076"/>
          <a:ext cx="2577757" cy="1031103"/>
        </a:xfrm>
        <a:prstGeom prst="chevron">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l-GR" sz="2000" kern="1200" dirty="0"/>
            <a:t>Ισονομία</a:t>
          </a:r>
        </a:p>
      </dsp:txBody>
      <dsp:txXfrm>
        <a:off x="515552" y="1177076"/>
        <a:ext cx="1546654" cy="1031103"/>
      </dsp:txXfrm>
    </dsp:sp>
    <dsp:sp modelId="{EBCE48BF-F72B-4979-896A-D4AEF9289A6D}">
      <dsp:nvSpPr>
        <dsp:cNvPr id="0" name=""/>
        <dsp:cNvSpPr/>
      </dsp:nvSpPr>
      <dsp:spPr>
        <a:xfrm>
          <a:off x="2673898" y="1264720"/>
          <a:ext cx="5021797" cy="855815"/>
        </a:xfrm>
        <a:prstGeom prst="roundRect">
          <a:avLst/>
        </a:prstGeom>
        <a:solidFill>
          <a:schemeClr val="accent6">
            <a:lumMod val="20000"/>
            <a:lumOff val="80000"/>
          </a:schemeClr>
        </a:soli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34290" tIns="17145" rIns="0" bIns="17145" numCol="1" spcCol="1270" anchor="ctr" anchorCtr="0">
          <a:noAutofit/>
        </a:bodyPr>
        <a:lstStyle/>
        <a:p>
          <a:pPr marL="0" lvl="0" indent="0" algn="ctr" defTabSz="1200150">
            <a:lnSpc>
              <a:spcPct val="90000"/>
            </a:lnSpc>
            <a:spcBef>
              <a:spcPct val="0"/>
            </a:spcBef>
            <a:spcAft>
              <a:spcPct val="35000"/>
            </a:spcAft>
            <a:buNone/>
          </a:pPr>
          <a:r>
            <a:rPr lang="el-GR" sz="2700" kern="1200" dirty="0"/>
            <a:t>Ισότιμη πρόσβαση των δικαιούχων σε υπηρεσίες υγείας</a:t>
          </a:r>
          <a:endParaRPr lang="en-GB" sz="2700" kern="1200" dirty="0"/>
        </a:p>
      </dsp:txBody>
      <dsp:txXfrm>
        <a:off x="2715675" y="1306497"/>
        <a:ext cx="4938243" cy="772261"/>
      </dsp:txXfrm>
    </dsp:sp>
    <dsp:sp modelId="{3348B249-9D51-4051-8BBE-1F583B54385E}">
      <dsp:nvSpPr>
        <dsp:cNvPr id="0" name=""/>
        <dsp:cNvSpPr/>
      </dsp:nvSpPr>
      <dsp:spPr>
        <a:xfrm>
          <a:off x="0" y="2352533"/>
          <a:ext cx="2577757" cy="1031103"/>
        </a:xfrm>
        <a:prstGeom prst="chevron">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l-GR" sz="2000" kern="1200" dirty="0"/>
            <a:t>Αλληλεγγύη</a:t>
          </a:r>
          <a:endParaRPr lang="en-GB" sz="2000" kern="1200" dirty="0"/>
        </a:p>
      </dsp:txBody>
      <dsp:txXfrm>
        <a:off x="515552" y="2352533"/>
        <a:ext cx="1546654" cy="1031103"/>
      </dsp:txXfrm>
    </dsp:sp>
    <dsp:sp modelId="{CB161AB4-D0C7-415F-BE7B-3963A7705F17}">
      <dsp:nvSpPr>
        <dsp:cNvPr id="0" name=""/>
        <dsp:cNvSpPr/>
      </dsp:nvSpPr>
      <dsp:spPr>
        <a:xfrm>
          <a:off x="2673898" y="2440177"/>
          <a:ext cx="5021797" cy="855815"/>
        </a:xfrm>
        <a:prstGeom prst="roundRect">
          <a:avLst/>
        </a:prstGeom>
        <a:solidFill>
          <a:schemeClr val="accent6">
            <a:lumMod val="20000"/>
            <a:lumOff val="80000"/>
          </a:schemeClr>
        </a:soli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34290" tIns="17145" rIns="0" bIns="17145" numCol="1" spcCol="1270" anchor="ctr" anchorCtr="0">
          <a:noAutofit/>
        </a:bodyPr>
        <a:lstStyle/>
        <a:p>
          <a:pPr marL="0" lvl="0" indent="0" algn="ctr" defTabSz="1200150">
            <a:lnSpc>
              <a:spcPct val="90000"/>
            </a:lnSpc>
            <a:spcBef>
              <a:spcPct val="0"/>
            </a:spcBef>
            <a:spcAft>
              <a:spcPct val="35000"/>
            </a:spcAft>
            <a:buNone/>
          </a:pPr>
          <a:r>
            <a:rPr lang="el-GR" sz="2700" kern="1200" dirty="0"/>
            <a:t>Συνεισφορά με βάση τα εισοδήματα</a:t>
          </a:r>
          <a:endParaRPr lang="en-GB" sz="2700" kern="1200" dirty="0"/>
        </a:p>
      </dsp:txBody>
      <dsp:txXfrm>
        <a:off x="2715675" y="2481954"/>
        <a:ext cx="4938243" cy="772261"/>
      </dsp:txXfrm>
    </dsp:sp>
    <dsp:sp modelId="{59C7A3C8-9309-4B1A-B134-0332F25FD18E}">
      <dsp:nvSpPr>
        <dsp:cNvPr id="0" name=""/>
        <dsp:cNvSpPr/>
      </dsp:nvSpPr>
      <dsp:spPr>
        <a:xfrm>
          <a:off x="0" y="3527991"/>
          <a:ext cx="2577757" cy="1031103"/>
        </a:xfrm>
        <a:prstGeom prst="chevron">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12700" rIns="0" bIns="12700" numCol="1" spcCol="1270" anchor="ctr" anchorCtr="0">
          <a:noAutofit/>
        </a:bodyPr>
        <a:lstStyle/>
        <a:p>
          <a:pPr marL="0" lvl="0" indent="0" algn="ctr" defTabSz="889000">
            <a:lnSpc>
              <a:spcPct val="90000"/>
            </a:lnSpc>
            <a:spcBef>
              <a:spcPct val="0"/>
            </a:spcBef>
            <a:spcAft>
              <a:spcPct val="35000"/>
            </a:spcAft>
            <a:buNone/>
          </a:pPr>
          <a:r>
            <a:rPr lang="el-GR" sz="2000" kern="1200" dirty="0"/>
            <a:t>Ελεύθερη επιλογή</a:t>
          </a:r>
          <a:endParaRPr lang="en-GB" sz="2000" kern="1200" dirty="0"/>
        </a:p>
      </dsp:txBody>
      <dsp:txXfrm>
        <a:off x="515552" y="3527991"/>
        <a:ext cx="1546654" cy="1031103"/>
      </dsp:txXfrm>
    </dsp:sp>
    <dsp:sp modelId="{DA74EC2B-0FD5-42EF-96F3-8FB9576764E5}">
      <dsp:nvSpPr>
        <dsp:cNvPr id="0" name=""/>
        <dsp:cNvSpPr/>
      </dsp:nvSpPr>
      <dsp:spPr>
        <a:xfrm>
          <a:off x="2673898" y="3615634"/>
          <a:ext cx="5021797" cy="855815"/>
        </a:xfrm>
        <a:prstGeom prst="roundRect">
          <a:avLst/>
        </a:prstGeom>
        <a:solidFill>
          <a:schemeClr val="accent6">
            <a:lumMod val="20000"/>
            <a:lumOff val="80000"/>
          </a:schemeClr>
        </a:soli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34290" tIns="17145" rIns="0" bIns="17145" numCol="1" spcCol="1270" anchor="ctr" anchorCtr="0">
          <a:noAutofit/>
        </a:bodyPr>
        <a:lstStyle/>
        <a:p>
          <a:pPr marL="0" lvl="0" indent="0" algn="ctr" defTabSz="1200150">
            <a:lnSpc>
              <a:spcPct val="90000"/>
            </a:lnSpc>
            <a:spcBef>
              <a:spcPct val="0"/>
            </a:spcBef>
            <a:spcAft>
              <a:spcPct val="35000"/>
            </a:spcAft>
            <a:buNone/>
          </a:pPr>
          <a:r>
            <a:rPr lang="el-GR" sz="2700" kern="1200" dirty="0"/>
            <a:t>Ο ασθενής επιλέγει ελεύθερα τον παροχέα υπηρεσιών υγείας</a:t>
          </a:r>
          <a:endParaRPr lang="en-GB" sz="2700" kern="1200" dirty="0"/>
        </a:p>
      </dsp:txBody>
      <dsp:txXfrm>
        <a:off x="2715675" y="3657411"/>
        <a:ext cx="4938243" cy="77226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A11A45-F254-4414-89FC-FE56626E3188}">
      <dsp:nvSpPr>
        <dsp:cNvPr id="0" name=""/>
        <dsp:cNvSpPr/>
      </dsp:nvSpPr>
      <dsp:spPr>
        <a:xfrm>
          <a:off x="0" y="594921"/>
          <a:ext cx="7668285" cy="4769829"/>
        </a:xfrm>
        <a:prstGeom prst="rect">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95144" tIns="666496" rIns="595144" bIns="227584" numCol="1" spcCol="1270" anchor="t" anchorCtr="0">
          <a:noAutofit/>
        </a:bodyPr>
        <a:lstStyle/>
        <a:p>
          <a:pPr marL="285750" lvl="1" indent="-285750" algn="l" defTabSz="1422400">
            <a:lnSpc>
              <a:spcPct val="90000"/>
            </a:lnSpc>
            <a:spcBef>
              <a:spcPct val="0"/>
            </a:spcBef>
            <a:spcAft>
              <a:spcPct val="15000"/>
            </a:spcAft>
            <a:buChar char="•"/>
          </a:pPr>
          <a:endParaRPr lang="en-GB" sz="3200" kern="1200" dirty="0"/>
        </a:p>
        <a:p>
          <a:pPr marL="285750" lvl="1" indent="-285750" algn="l" defTabSz="1422400">
            <a:lnSpc>
              <a:spcPct val="90000"/>
            </a:lnSpc>
            <a:spcBef>
              <a:spcPct val="0"/>
            </a:spcBef>
            <a:spcAft>
              <a:spcPct val="15000"/>
            </a:spcAft>
            <a:buChar char="•"/>
          </a:pPr>
          <a:endParaRPr lang="en-GB" sz="3200" kern="1200" dirty="0"/>
        </a:p>
        <a:p>
          <a:pPr marL="285750" lvl="1" indent="-285750" algn="l" defTabSz="1422400">
            <a:lnSpc>
              <a:spcPct val="90000"/>
            </a:lnSpc>
            <a:spcBef>
              <a:spcPct val="0"/>
            </a:spcBef>
            <a:spcAft>
              <a:spcPct val="15000"/>
            </a:spcAft>
            <a:buChar char="•"/>
          </a:pPr>
          <a:endParaRPr lang="en-GB" sz="3200" kern="1200" dirty="0"/>
        </a:p>
      </dsp:txBody>
      <dsp:txXfrm>
        <a:off x="0" y="594921"/>
        <a:ext cx="7668285" cy="4769829"/>
      </dsp:txXfrm>
    </dsp:sp>
    <dsp:sp modelId="{D68C32CE-2D88-4007-9150-F0039EEEAB42}">
      <dsp:nvSpPr>
        <dsp:cNvPr id="0" name=""/>
        <dsp:cNvSpPr/>
      </dsp:nvSpPr>
      <dsp:spPr>
        <a:xfrm>
          <a:off x="383414" y="61300"/>
          <a:ext cx="6454188" cy="944640"/>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2890" tIns="0" rIns="202890" bIns="0" numCol="1" spcCol="1270" anchor="ctr" anchorCtr="0">
          <a:noAutofit/>
        </a:bodyPr>
        <a:lstStyle/>
        <a:p>
          <a:pPr marL="0" lvl="0" indent="0" algn="l" defTabSz="1422400">
            <a:lnSpc>
              <a:spcPct val="90000"/>
            </a:lnSpc>
            <a:spcBef>
              <a:spcPct val="0"/>
            </a:spcBef>
            <a:spcAft>
              <a:spcPct val="35000"/>
            </a:spcAft>
            <a:buNone/>
          </a:pPr>
          <a:r>
            <a:rPr lang="el-GR" sz="3200" kern="1200" dirty="0"/>
            <a:t>Ποιοι είναι οι δικαιούχοι του ΓεΣΥ</a:t>
          </a:r>
          <a:endParaRPr lang="en-GB" sz="3200" kern="1200" dirty="0"/>
        </a:p>
      </dsp:txBody>
      <dsp:txXfrm>
        <a:off x="429528" y="107414"/>
        <a:ext cx="6361960" cy="852412"/>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762692-F043-4E57-AA40-A474689F14B3}">
      <dsp:nvSpPr>
        <dsp:cNvPr id="0" name=""/>
        <dsp:cNvSpPr/>
      </dsp:nvSpPr>
      <dsp:spPr>
        <a:xfrm>
          <a:off x="0" y="834"/>
          <a:ext cx="6808817" cy="929241"/>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l-GR" sz="1900" b="1" u="none" kern="1200" dirty="0"/>
            <a:t>Πολίτες της Κυπριακής Δημοκρατίας</a:t>
          </a:r>
          <a:r>
            <a:rPr lang="en-US" sz="1900" b="1" u="none" kern="1200" dirty="0"/>
            <a:t> </a:t>
          </a:r>
          <a:r>
            <a:rPr lang="el-GR" sz="1900" kern="1200" dirty="0"/>
            <a:t>που έχουν τη συνήθη διαμονή τους στην Κύπρο</a:t>
          </a:r>
          <a:endParaRPr lang="en-GB" sz="1900" kern="1200" dirty="0"/>
        </a:p>
      </dsp:txBody>
      <dsp:txXfrm>
        <a:off x="45362" y="46196"/>
        <a:ext cx="6718093" cy="838517"/>
      </dsp:txXfrm>
    </dsp:sp>
    <dsp:sp modelId="{2BEE9767-FD8E-4A23-9018-F330B56CA4D2}">
      <dsp:nvSpPr>
        <dsp:cNvPr id="0" name=""/>
        <dsp:cNvSpPr/>
      </dsp:nvSpPr>
      <dsp:spPr>
        <a:xfrm>
          <a:off x="0" y="930076"/>
          <a:ext cx="6808817" cy="77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6180" tIns="6350" rIns="35560" bIns="6350" numCol="1" spcCol="1270" anchor="t" anchorCtr="0">
          <a:noAutofit/>
        </a:bodyPr>
        <a:lstStyle/>
        <a:p>
          <a:pPr marL="57150" lvl="1" indent="-57150" algn="l" defTabSz="177800">
            <a:lnSpc>
              <a:spcPct val="90000"/>
            </a:lnSpc>
            <a:spcBef>
              <a:spcPct val="0"/>
            </a:spcBef>
            <a:spcAft>
              <a:spcPct val="20000"/>
            </a:spcAft>
            <a:buChar char="•"/>
          </a:pPr>
          <a:endParaRPr lang="en-GB" sz="400" kern="1200" dirty="0"/>
        </a:p>
      </dsp:txBody>
      <dsp:txXfrm>
        <a:off x="0" y="930076"/>
        <a:ext cx="6808817" cy="77139"/>
      </dsp:txXfrm>
    </dsp:sp>
    <dsp:sp modelId="{CAFA5743-095B-4A86-8582-0B74D6B95C6F}">
      <dsp:nvSpPr>
        <dsp:cNvPr id="0" name=""/>
        <dsp:cNvSpPr/>
      </dsp:nvSpPr>
      <dsp:spPr>
        <a:xfrm>
          <a:off x="0" y="1007216"/>
          <a:ext cx="6808817" cy="929241"/>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l-GR" sz="1900" b="1" u="none" kern="1200" dirty="0"/>
            <a:t>Πολίτες της Ευρωπαϊκής Ένωσης</a:t>
          </a:r>
          <a:r>
            <a:rPr lang="en-US" sz="1900" b="1" u="none" kern="1200" dirty="0"/>
            <a:t> </a:t>
          </a:r>
          <a:r>
            <a:rPr lang="el-GR" sz="1900" kern="1200" dirty="0"/>
            <a:t>που έχουν τη συνήθη διαμονή τους στην Κύπρο</a:t>
          </a:r>
          <a:r>
            <a:rPr lang="en-US" sz="1900" kern="1200" dirty="0"/>
            <a:t> </a:t>
          </a:r>
          <a:r>
            <a:rPr lang="el-GR" sz="1900" kern="1200" dirty="0"/>
            <a:t>και εργάζονται ή έχουν αποκτήσει δικαίωμα μόνιμης διαμονής</a:t>
          </a:r>
          <a:endParaRPr lang="en-GB" sz="1900" kern="1200" dirty="0"/>
        </a:p>
      </dsp:txBody>
      <dsp:txXfrm>
        <a:off x="45362" y="1052578"/>
        <a:ext cx="6718093" cy="838517"/>
      </dsp:txXfrm>
    </dsp:sp>
    <dsp:sp modelId="{291E2CC0-DC3F-4AD1-94BE-C01BF0C13EAD}">
      <dsp:nvSpPr>
        <dsp:cNvPr id="0" name=""/>
        <dsp:cNvSpPr/>
      </dsp:nvSpPr>
      <dsp:spPr>
        <a:xfrm>
          <a:off x="0" y="1936458"/>
          <a:ext cx="6808817" cy="77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6180" tIns="6350" rIns="35560" bIns="6350" numCol="1" spcCol="1270" anchor="t" anchorCtr="0">
          <a:noAutofit/>
        </a:bodyPr>
        <a:lstStyle/>
        <a:p>
          <a:pPr marL="57150" lvl="1" indent="-57150" algn="l" defTabSz="177800">
            <a:lnSpc>
              <a:spcPct val="90000"/>
            </a:lnSpc>
            <a:spcBef>
              <a:spcPct val="0"/>
            </a:spcBef>
            <a:spcAft>
              <a:spcPct val="20000"/>
            </a:spcAft>
            <a:buChar char="•"/>
          </a:pPr>
          <a:endParaRPr lang="en-GB" sz="400" kern="1200" dirty="0"/>
        </a:p>
      </dsp:txBody>
      <dsp:txXfrm>
        <a:off x="0" y="1936458"/>
        <a:ext cx="6808817" cy="77139"/>
      </dsp:txXfrm>
    </dsp:sp>
    <dsp:sp modelId="{C6D73C0B-DAB8-444C-9E2D-2D353AD25F54}">
      <dsp:nvSpPr>
        <dsp:cNvPr id="0" name=""/>
        <dsp:cNvSpPr/>
      </dsp:nvSpPr>
      <dsp:spPr>
        <a:xfrm>
          <a:off x="0" y="2013597"/>
          <a:ext cx="6808817" cy="929241"/>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l-GR" sz="1900" b="1" u="none" kern="1200" dirty="0"/>
            <a:t>Πολίτες τρίτων χωρών</a:t>
          </a:r>
          <a:r>
            <a:rPr lang="en-US" sz="1900" b="1" u="none" kern="1200" dirty="0"/>
            <a:t> </a:t>
          </a:r>
          <a:r>
            <a:rPr lang="el-GR" sz="1900" kern="1200" dirty="0"/>
            <a:t>που έχουν τη συνήθη διαμονή τους στην Κύπρο</a:t>
          </a:r>
          <a:r>
            <a:rPr lang="en-US" sz="1900" kern="1200" dirty="0"/>
            <a:t> </a:t>
          </a:r>
          <a:r>
            <a:rPr lang="el-GR" sz="1900" kern="1200" dirty="0"/>
            <a:t>και πληρούν τις πρόνοιες της εθνικής νομοθεσίας</a:t>
          </a:r>
          <a:endParaRPr lang="en-GB" sz="1900" kern="1200" dirty="0"/>
        </a:p>
      </dsp:txBody>
      <dsp:txXfrm>
        <a:off x="45362" y="2058959"/>
        <a:ext cx="6718093" cy="838517"/>
      </dsp:txXfrm>
    </dsp:sp>
    <dsp:sp modelId="{C92B1B29-21F9-4EAF-BFD8-5E205BFB9BC3}">
      <dsp:nvSpPr>
        <dsp:cNvPr id="0" name=""/>
        <dsp:cNvSpPr/>
      </dsp:nvSpPr>
      <dsp:spPr>
        <a:xfrm>
          <a:off x="0" y="2942839"/>
          <a:ext cx="6808817" cy="7713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6180" tIns="19050" rIns="106680" bIns="19050" numCol="1" spcCol="1270" anchor="t" anchorCtr="0">
          <a:noAutofit/>
        </a:bodyPr>
        <a:lstStyle/>
        <a:p>
          <a:pPr marL="114300" lvl="1" indent="-114300" algn="l" defTabSz="666750">
            <a:lnSpc>
              <a:spcPct val="90000"/>
            </a:lnSpc>
            <a:spcBef>
              <a:spcPct val="0"/>
            </a:spcBef>
            <a:spcAft>
              <a:spcPct val="20000"/>
            </a:spcAft>
            <a:buChar char="•"/>
          </a:pPr>
          <a:endParaRPr lang="en-GB" sz="1500" kern="1200" dirty="0"/>
        </a:p>
      </dsp:txBody>
      <dsp:txXfrm>
        <a:off x="0" y="2942839"/>
        <a:ext cx="6808817" cy="77139"/>
      </dsp:txXfrm>
    </dsp:sp>
    <dsp:sp modelId="{7466BD43-C700-43D4-8FC4-EF0936E1E092}">
      <dsp:nvSpPr>
        <dsp:cNvPr id="0" name=""/>
        <dsp:cNvSpPr/>
      </dsp:nvSpPr>
      <dsp:spPr>
        <a:xfrm>
          <a:off x="0" y="3019979"/>
          <a:ext cx="6808817" cy="929241"/>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l-GR" sz="1900" b="1" u="none" kern="1200" dirty="0"/>
            <a:t>Άλλες κατηγορίες</a:t>
          </a:r>
          <a:endParaRPr lang="en-GB" sz="1900" b="1" u="none" kern="1200" dirty="0"/>
        </a:p>
      </dsp:txBody>
      <dsp:txXfrm>
        <a:off x="45362" y="3065341"/>
        <a:ext cx="6718093" cy="838517"/>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FBD992-35E0-4F6B-881F-0407213D2633}">
      <dsp:nvSpPr>
        <dsp:cNvPr id="0" name=""/>
        <dsp:cNvSpPr/>
      </dsp:nvSpPr>
      <dsp:spPr>
        <a:xfrm>
          <a:off x="0" y="473009"/>
          <a:ext cx="7957996" cy="5077061"/>
        </a:xfrm>
        <a:prstGeom prst="rect">
          <a:avLst/>
        </a:prstGeom>
        <a:solidFill>
          <a:schemeClr val="accent2">
            <a:alpha val="90000"/>
            <a:tint val="4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17629" tIns="604012" rIns="617629" bIns="206248" numCol="1" spcCol="1270" anchor="t" anchorCtr="0">
          <a:noAutofit/>
        </a:bodyPr>
        <a:lstStyle/>
        <a:p>
          <a:pPr marL="285750" lvl="1" indent="-285750" algn="l" defTabSz="1289050" rtl="0">
            <a:lnSpc>
              <a:spcPct val="90000"/>
            </a:lnSpc>
            <a:spcBef>
              <a:spcPct val="0"/>
            </a:spcBef>
            <a:spcAft>
              <a:spcPct val="15000"/>
            </a:spcAft>
            <a:buChar char="•"/>
          </a:pPr>
          <a:endParaRPr lang="en-GB" sz="2900" kern="1200" dirty="0"/>
        </a:p>
        <a:p>
          <a:pPr marL="285750" lvl="1" indent="-285750" algn="l" defTabSz="1289050" rtl="0">
            <a:lnSpc>
              <a:spcPct val="90000"/>
            </a:lnSpc>
            <a:spcBef>
              <a:spcPct val="0"/>
            </a:spcBef>
            <a:spcAft>
              <a:spcPct val="15000"/>
            </a:spcAft>
            <a:buChar char="•"/>
          </a:pPr>
          <a:endParaRPr lang="en-GB" sz="2900" kern="1200" dirty="0"/>
        </a:p>
        <a:p>
          <a:pPr marL="285750" lvl="1" indent="-285750" algn="l" defTabSz="1289050" rtl="0">
            <a:lnSpc>
              <a:spcPct val="90000"/>
            </a:lnSpc>
            <a:spcBef>
              <a:spcPct val="0"/>
            </a:spcBef>
            <a:spcAft>
              <a:spcPct val="15000"/>
            </a:spcAft>
            <a:buChar char="•"/>
          </a:pPr>
          <a:endParaRPr lang="en-GB" sz="2900" kern="1200" dirty="0"/>
        </a:p>
        <a:p>
          <a:pPr marL="285750" lvl="1" indent="-285750" algn="l" defTabSz="1289050" rtl="0">
            <a:lnSpc>
              <a:spcPct val="90000"/>
            </a:lnSpc>
            <a:spcBef>
              <a:spcPct val="0"/>
            </a:spcBef>
            <a:spcAft>
              <a:spcPct val="15000"/>
            </a:spcAft>
            <a:buChar char="•"/>
          </a:pPr>
          <a:endParaRPr lang="en-GB" sz="2900" kern="1200" dirty="0"/>
        </a:p>
        <a:p>
          <a:pPr marL="285750" lvl="1" indent="-285750" algn="l" defTabSz="1289050" rtl="0">
            <a:lnSpc>
              <a:spcPct val="90000"/>
            </a:lnSpc>
            <a:spcBef>
              <a:spcPct val="0"/>
            </a:spcBef>
            <a:spcAft>
              <a:spcPct val="15000"/>
            </a:spcAft>
            <a:buChar char="•"/>
          </a:pPr>
          <a:endParaRPr lang="en-GB" sz="2900" kern="1200" dirty="0"/>
        </a:p>
        <a:p>
          <a:pPr marL="285750" lvl="1" indent="-285750" algn="l" defTabSz="1289050" rtl="0">
            <a:lnSpc>
              <a:spcPct val="90000"/>
            </a:lnSpc>
            <a:spcBef>
              <a:spcPct val="0"/>
            </a:spcBef>
            <a:spcAft>
              <a:spcPct val="15000"/>
            </a:spcAft>
            <a:buChar char="•"/>
          </a:pPr>
          <a:endParaRPr lang="en-GB" sz="2900" kern="1200" dirty="0"/>
        </a:p>
        <a:p>
          <a:pPr marL="285750" lvl="1" indent="-285750" algn="l" defTabSz="1289050" rtl="0">
            <a:lnSpc>
              <a:spcPct val="90000"/>
            </a:lnSpc>
            <a:spcBef>
              <a:spcPct val="0"/>
            </a:spcBef>
            <a:spcAft>
              <a:spcPct val="15000"/>
            </a:spcAft>
            <a:buChar char="•"/>
          </a:pPr>
          <a:endParaRPr lang="en-GB" sz="2900" kern="1200" dirty="0"/>
        </a:p>
        <a:p>
          <a:pPr marL="285750" lvl="1" indent="-285750" algn="l" defTabSz="1289050" rtl="0">
            <a:lnSpc>
              <a:spcPct val="90000"/>
            </a:lnSpc>
            <a:spcBef>
              <a:spcPct val="0"/>
            </a:spcBef>
            <a:spcAft>
              <a:spcPct val="15000"/>
            </a:spcAft>
            <a:buChar char="•"/>
          </a:pPr>
          <a:endParaRPr lang="en-GB" sz="2900" kern="1200" dirty="0"/>
        </a:p>
        <a:p>
          <a:pPr marL="285750" lvl="1" indent="-285750" algn="l" defTabSz="1289050" rtl="0">
            <a:lnSpc>
              <a:spcPct val="90000"/>
            </a:lnSpc>
            <a:spcBef>
              <a:spcPct val="0"/>
            </a:spcBef>
            <a:spcAft>
              <a:spcPct val="15000"/>
            </a:spcAft>
            <a:buChar char="•"/>
          </a:pPr>
          <a:endParaRPr lang="en-GB" sz="2900" kern="1200" dirty="0"/>
        </a:p>
      </dsp:txBody>
      <dsp:txXfrm>
        <a:off x="0" y="473009"/>
        <a:ext cx="7957996" cy="5077061"/>
      </dsp:txXfrm>
    </dsp:sp>
    <dsp:sp modelId="{BF8B7000-A51B-4F51-A772-501A4DB964BB}">
      <dsp:nvSpPr>
        <dsp:cNvPr id="0" name=""/>
        <dsp:cNvSpPr/>
      </dsp:nvSpPr>
      <dsp:spPr>
        <a:xfrm>
          <a:off x="397899" y="44969"/>
          <a:ext cx="5570597" cy="856080"/>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0555" tIns="0" rIns="210555" bIns="0" numCol="1" spcCol="1270" anchor="ctr" anchorCtr="0">
          <a:noAutofit/>
        </a:bodyPr>
        <a:lstStyle/>
        <a:p>
          <a:pPr marL="0" lvl="0" indent="0" algn="l" defTabSz="1289050">
            <a:lnSpc>
              <a:spcPct val="90000"/>
            </a:lnSpc>
            <a:spcBef>
              <a:spcPct val="0"/>
            </a:spcBef>
            <a:spcAft>
              <a:spcPct val="35000"/>
            </a:spcAft>
            <a:buNone/>
          </a:pPr>
          <a:r>
            <a:rPr lang="el-GR" sz="2900" kern="1200" dirty="0"/>
            <a:t>Ποιοι παρέχουν τις υπηρεσίες υγείας στα πλαίσια του ΓεΣΥ  </a:t>
          </a:r>
          <a:endParaRPr lang="en-GB" sz="2900" kern="1200" dirty="0"/>
        </a:p>
      </dsp:txBody>
      <dsp:txXfrm>
        <a:off x="439689" y="86759"/>
        <a:ext cx="5487017" cy="7725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DDE8-623C-4257-A485-931B5A9772D4}">
      <dsp:nvSpPr>
        <dsp:cNvPr id="0" name=""/>
        <dsp:cNvSpPr/>
      </dsp:nvSpPr>
      <dsp:spPr>
        <a:xfrm>
          <a:off x="0" y="73344"/>
          <a:ext cx="7233719" cy="1069184"/>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l-GR" sz="1900" kern="1200" dirty="0"/>
            <a:t>Οι υπηρεσίες υγείας εντός του ΓεΣΥ παρέχονται από όλους τους </a:t>
          </a:r>
          <a:r>
            <a:rPr lang="el-GR" sz="1900" kern="1200" dirty="0" err="1"/>
            <a:t>πάροχους</a:t>
          </a:r>
          <a:r>
            <a:rPr lang="el-GR" sz="1900" kern="1200" dirty="0"/>
            <a:t> υγείας του </a:t>
          </a:r>
          <a:r>
            <a:rPr lang="el-GR" sz="1900" b="1" kern="1200" dirty="0"/>
            <a:t>δημόσιου</a:t>
          </a:r>
          <a:r>
            <a:rPr lang="el-GR" sz="1900" kern="1200" dirty="0"/>
            <a:t> και </a:t>
          </a:r>
          <a:r>
            <a:rPr lang="el-GR" sz="1900" b="1" kern="1200" dirty="0"/>
            <a:t>ιδιωτικού</a:t>
          </a:r>
          <a:r>
            <a:rPr lang="el-GR" sz="1900" kern="1200" dirty="0"/>
            <a:t> τομέα που είναι </a:t>
          </a:r>
          <a:r>
            <a:rPr lang="el-GR" sz="1900" b="1" kern="1200" dirty="0"/>
            <a:t>συμβεβλημένοι</a:t>
          </a:r>
          <a:r>
            <a:rPr lang="el-GR" sz="1900" kern="1200" dirty="0"/>
            <a:t> με τον Οργανισμό Ασφάλισης Υγείας</a:t>
          </a:r>
          <a:endParaRPr lang="en-GB" sz="1900" kern="1200" dirty="0"/>
        </a:p>
      </dsp:txBody>
      <dsp:txXfrm>
        <a:off x="0" y="73344"/>
        <a:ext cx="7233719" cy="1069184"/>
      </dsp:txXfrm>
    </dsp:sp>
    <dsp:sp modelId="{637D8042-34F9-4003-A511-D7075E25967C}">
      <dsp:nvSpPr>
        <dsp:cNvPr id="0" name=""/>
        <dsp:cNvSpPr/>
      </dsp:nvSpPr>
      <dsp:spPr>
        <a:xfrm>
          <a:off x="0" y="1142528"/>
          <a:ext cx="7233719"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671" tIns="24130" rIns="135128" bIns="24130" numCol="1" spcCol="1270" anchor="t" anchorCtr="0">
          <a:noAutofit/>
        </a:bodyPr>
        <a:lstStyle/>
        <a:p>
          <a:pPr marL="114300" lvl="1" indent="-114300" algn="l" defTabSz="666750">
            <a:lnSpc>
              <a:spcPct val="90000"/>
            </a:lnSpc>
            <a:spcBef>
              <a:spcPct val="0"/>
            </a:spcBef>
            <a:spcAft>
              <a:spcPct val="20000"/>
            </a:spcAft>
            <a:buChar char="•"/>
          </a:pPr>
          <a:endParaRPr lang="en-GB" sz="1500" kern="1200" dirty="0"/>
        </a:p>
      </dsp:txBody>
      <dsp:txXfrm>
        <a:off x="0" y="1142528"/>
        <a:ext cx="7233719" cy="314640"/>
      </dsp:txXfrm>
    </dsp:sp>
    <dsp:sp modelId="{289C142B-4E77-4C54-BBEA-2736E610B0E6}">
      <dsp:nvSpPr>
        <dsp:cNvPr id="0" name=""/>
        <dsp:cNvSpPr/>
      </dsp:nvSpPr>
      <dsp:spPr>
        <a:xfrm>
          <a:off x="0" y="1457168"/>
          <a:ext cx="7233719" cy="1069184"/>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l-GR" sz="1900" kern="1200" dirty="0"/>
            <a:t>Για την παροχή υπηρεσιών φροντίδας υγείας, ο ΟΑΥ συμβάλλεται με φυσικά, νομικά πρόσωπα  και κρατικές υπηρεσίες</a:t>
          </a:r>
          <a:endParaRPr lang="en-GB" sz="1900" kern="1200" dirty="0"/>
        </a:p>
      </dsp:txBody>
      <dsp:txXfrm>
        <a:off x="0" y="1457168"/>
        <a:ext cx="7233719" cy="1069184"/>
      </dsp:txXfrm>
    </dsp:sp>
    <dsp:sp modelId="{6C7B7733-90BB-4694-B840-808E0476F696}">
      <dsp:nvSpPr>
        <dsp:cNvPr id="0" name=""/>
        <dsp:cNvSpPr/>
      </dsp:nvSpPr>
      <dsp:spPr>
        <a:xfrm>
          <a:off x="0" y="2526353"/>
          <a:ext cx="7233719"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671" tIns="24130" rIns="135128" bIns="24130" numCol="1" spcCol="1270" anchor="t" anchorCtr="0">
          <a:noAutofit/>
        </a:bodyPr>
        <a:lstStyle/>
        <a:p>
          <a:pPr marL="114300" lvl="1" indent="-114300" algn="l" defTabSz="666750">
            <a:lnSpc>
              <a:spcPct val="90000"/>
            </a:lnSpc>
            <a:spcBef>
              <a:spcPct val="0"/>
            </a:spcBef>
            <a:spcAft>
              <a:spcPct val="20000"/>
            </a:spcAft>
            <a:buChar char="•"/>
          </a:pPr>
          <a:endParaRPr lang="en-GB" sz="1500" kern="1200" dirty="0"/>
        </a:p>
      </dsp:txBody>
      <dsp:txXfrm>
        <a:off x="0" y="2526353"/>
        <a:ext cx="7233719" cy="314640"/>
      </dsp:txXfrm>
    </dsp:sp>
    <dsp:sp modelId="{22C51518-EC84-450D-BD54-6E7840E98BFF}">
      <dsp:nvSpPr>
        <dsp:cNvPr id="0" name=""/>
        <dsp:cNvSpPr/>
      </dsp:nvSpPr>
      <dsp:spPr>
        <a:xfrm>
          <a:off x="0" y="2840993"/>
          <a:ext cx="7233719" cy="1069184"/>
        </a:xfrm>
        <a:prstGeom prst="roundRect">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rtl="0">
            <a:lnSpc>
              <a:spcPct val="90000"/>
            </a:lnSpc>
            <a:spcBef>
              <a:spcPct val="0"/>
            </a:spcBef>
            <a:spcAft>
              <a:spcPct val="35000"/>
            </a:spcAft>
            <a:buNone/>
          </a:pPr>
          <a:r>
            <a:rPr lang="el-GR" sz="1900" kern="1200" dirty="0"/>
            <a:t>Για τη σύναψη σύμβασης με τον ΟΑΥ, οι </a:t>
          </a:r>
          <a:r>
            <a:rPr lang="el-GR" sz="1900" kern="1200" dirty="0" err="1"/>
            <a:t>πάροχοι</a:t>
          </a:r>
          <a:r>
            <a:rPr lang="el-GR" sz="1900" kern="1200" dirty="0"/>
            <a:t> οφείλουν να πληρούν συγκεκριμένες </a:t>
          </a:r>
          <a:r>
            <a:rPr lang="el-GR" sz="1900" b="1" kern="1200" dirty="0"/>
            <a:t>ελάχιστες απαιτήσεις</a:t>
          </a:r>
          <a:r>
            <a:rPr lang="el-GR" sz="1900" kern="1200" dirty="0"/>
            <a:t> (πχ προσόντα, υποδομή)</a:t>
          </a:r>
          <a:endParaRPr lang="en-GB" sz="1900" kern="1200" dirty="0"/>
        </a:p>
      </dsp:txBody>
      <dsp:txXfrm>
        <a:off x="0" y="2840993"/>
        <a:ext cx="7233719" cy="1069184"/>
      </dsp:txXfrm>
    </dsp:sp>
    <dsp:sp modelId="{E706AB0F-B157-4459-B755-44C2331255AC}">
      <dsp:nvSpPr>
        <dsp:cNvPr id="0" name=""/>
        <dsp:cNvSpPr/>
      </dsp:nvSpPr>
      <dsp:spPr>
        <a:xfrm>
          <a:off x="0" y="3910177"/>
          <a:ext cx="7233719"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9671" tIns="24130" rIns="135128" bIns="24130" numCol="1" spcCol="1270" anchor="t" anchorCtr="0">
          <a:noAutofit/>
        </a:bodyPr>
        <a:lstStyle/>
        <a:p>
          <a:pPr marL="114300" lvl="1" indent="-114300" algn="l" defTabSz="666750">
            <a:lnSpc>
              <a:spcPct val="90000"/>
            </a:lnSpc>
            <a:spcBef>
              <a:spcPct val="0"/>
            </a:spcBef>
            <a:spcAft>
              <a:spcPct val="20000"/>
            </a:spcAft>
            <a:buChar char="•"/>
          </a:pPr>
          <a:endParaRPr lang="en-GB" sz="1500" kern="1200" dirty="0"/>
        </a:p>
      </dsp:txBody>
      <dsp:txXfrm>
        <a:off x="0" y="3910177"/>
        <a:ext cx="7233719" cy="314640"/>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644EBE-E0D9-4096-AA7C-A7CAFEE2B2B9}">
      <dsp:nvSpPr>
        <dsp:cNvPr id="0" name=""/>
        <dsp:cNvSpPr/>
      </dsp:nvSpPr>
      <dsp:spPr>
        <a:xfrm>
          <a:off x="0" y="1568"/>
          <a:ext cx="2118676" cy="971591"/>
        </a:xfrm>
        <a:prstGeom prst="chevron">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el-GR" sz="1600" kern="1200" dirty="0"/>
            <a:t>Εγγραφή στο ΓεΣΥ</a:t>
          </a:r>
          <a:endParaRPr lang="en-GB" sz="1600" kern="1200" dirty="0"/>
        </a:p>
      </dsp:txBody>
      <dsp:txXfrm>
        <a:off x="0" y="1568"/>
        <a:ext cx="2118676" cy="971591"/>
      </dsp:txXfrm>
    </dsp:sp>
    <dsp:sp modelId="{83B03B8A-DF87-4E66-90C5-7C0D7A5591E9}">
      <dsp:nvSpPr>
        <dsp:cNvPr id="0" name=""/>
        <dsp:cNvSpPr/>
      </dsp:nvSpPr>
      <dsp:spPr>
        <a:xfrm>
          <a:off x="2054749" y="127002"/>
          <a:ext cx="6133657" cy="689030"/>
        </a:xfrm>
        <a:prstGeom prst="roundRect">
          <a:avLst/>
        </a:prstGeom>
        <a:solidFill>
          <a:schemeClr val="accent6">
            <a:lumMod val="20000"/>
            <a:lumOff val="80000"/>
          </a:schemeClr>
        </a:soli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22860" tIns="11430" rIns="0" bIns="11430" numCol="1" spcCol="1270" anchor="ctr" anchorCtr="0">
          <a:noAutofit/>
        </a:bodyPr>
        <a:lstStyle/>
        <a:p>
          <a:pPr marL="0" lvl="0" indent="0" algn="just" defTabSz="800100">
            <a:lnSpc>
              <a:spcPct val="90000"/>
            </a:lnSpc>
            <a:spcBef>
              <a:spcPct val="0"/>
            </a:spcBef>
            <a:spcAft>
              <a:spcPct val="35000"/>
            </a:spcAft>
            <a:buNone/>
          </a:pPr>
          <a:r>
            <a:rPr lang="el-GR" sz="1800" kern="1200" dirty="0"/>
            <a:t>Εγγραφή στο ΓεΣΥ μέσω της διαδικτυακής πύλης δικαιούχων ή έπειτα από επίσκεψη σε ΠΙ </a:t>
          </a:r>
          <a:endParaRPr lang="en-GB" sz="1800" kern="1200" dirty="0"/>
        </a:p>
      </dsp:txBody>
      <dsp:txXfrm>
        <a:off x="2054749" y="127002"/>
        <a:ext cx="6133657" cy="689030"/>
      </dsp:txXfrm>
    </dsp:sp>
    <dsp:sp modelId="{23FFC388-76B0-4111-A20F-67AC1F1939BC}">
      <dsp:nvSpPr>
        <dsp:cNvPr id="0" name=""/>
        <dsp:cNvSpPr/>
      </dsp:nvSpPr>
      <dsp:spPr>
        <a:xfrm>
          <a:off x="0" y="1109182"/>
          <a:ext cx="2410785" cy="1002458"/>
        </a:xfrm>
        <a:prstGeom prst="chevron">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el-GR" sz="1600" kern="1200" dirty="0"/>
            <a:t>Επιλογή Προσωπικού Ιατρού</a:t>
          </a:r>
          <a:endParaRPr lang="en-GB" sz="1600" kern="1200" dirty="0"/>
        </a:p>
      </dsp:txBody>
      <dsp:txXfrm>
        <a:off x="0" y="1109182"/>
        <a:ext cx="2410785" cy="1002458"/>
      </dsp:txXfrm>
    </dsp:sp>
    <dsp:sp modelId="{51495109-2A4C-4E75-B818-140C45277A29}">
      <dsp:nvSpPr>
        <dsp:cNvPr id="0" name=""/>
        <dsp:cNvSpPr/>
      </dsp:nvSpPr>
      <dsp:spPr>
        <a:xfrm>
          <a:off x="2248362" y="1113321"/>
          <a:ext cx="6098194" cy="929391"/>
        </a:xfrm>
        <a:prstGeom prst="roundRect">
          <a:avLst/>
        </a:prstGeom>
        <a:solidFill>
          <a:schemeClr val="accent6">
            <a:lumMod val="20000"/>
            <a:lumOff val="80000"/>
          </a:schemeClr>
        </a:soli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22860" tIns="11430" rIns="0" bIns="11430" numCol="1" spcCol="1270" anchor="ctr" anchorCtr="0">
          <a:noAutofit/>
        </a:bodyPr>
        <a:lstStyle/>
        <a:p>
          <a:pPr marL="0" lvl="0" indent="0" algn="just" defTabSz="800100">
            <a:lnSpc>
              <a:spcPct val="90000"/>
            </a:lnSpc>
            <a:spcBef>
              <a:spcPct val="0"/>
            </a:spcBef>
            <a:spcAft>
              <a:spcPct val="35000"/>
            </a:spcAft>
            <a:buNone/>
          </a:pPr>
          <a:r>
            <a:rPr lang="el-GR" sz="1800" kern="1200" dirty="0"/>
            <a:t>Εγγραφή σε κατάλογο ΠΙ της επιλογής του κάθε δικαιούχου μέσω της διαδικτυακής πύλης δικαιούχων ή έπειτα από επίσκεψη σε ΠΙ</a:t>
          </a:r>
          <a:endParaRPr lang="en-GB" sz="1800" kern="1200" dirty="0"/>
        </a:p>
      </dsp:txBody>
      <dsp:txXfrm>
        <a:off x="2248362" y="1113321"/>
        <a:ext cx="6098194" cy="929391"/>
      </dsp:txXfrm>
    </dsp:sp>
    <dsp:sp modelId="{56041DC9-3242-42BB-A184-6B1F32091E5F}">
      <dsp:nvSpPr>
        <dsp:cNvPr id="0" name=""/>
        <dsp:cNvSpPr/>
      </dsp:nvSpPr>
      <dsp:spPr>
        <a:xfrm>
          <a:off x="0" y="2255458"/>
          <a:ext cx="2106021" cy="971591"/>
        </a:xfrm>
        <a:prstGeom prst="chevron">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el-GR" sz="1600" kern="1200" dirty="0"/>
            <a:t>Επίσκεψη στον Προσωπικό Ιατρό</a:t>
          </a:r>
          <a:endParaRPr lang="en-GB" sz="1600" kern="1200" dirty="0"/>
        </a:p>
      </dsp:txBody>
      <dsp:txXfrm>
        <a:off x="0" y="2255458"/>
        <a:ext cx="2106021" cy="971591"/>
      </dsp:txXfrm>
    </dsp:sp>
    <dsp:sp modelId="{3B67F31C-895C-4C95-B4B7-1974116183AA}">
      <dsp:nvSpPr>
        <dsp:cNvPr id="0" name=""/>
        <dsp:cNvSpPr/>
      </dsp:nvSpPr>
      <dsp:spPr>
        <a:xfrm>
          <a:off x="2186947" y="2247663"/>
          <a:ext cx="6108436" cy="987180"/>
        </a:xfrm>
        <a:prstGeom prst="roundRect">
          <a:avLst/>
        </a:prstGeom>
        <a:solidFill>
          <a:schemeClr val="accent6">
            <a:lumMod val="20000"/>
            <a:lumOff val="80000"/>
          </a:schemeClr>
        </a:soli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22860" tIns="11430" rIns="0" bIns="11430" numCol="1" spcCol="1270" anchor="ctr" anchorCtr="0">
          <a:noAutofit/>
        </a:bodyPr>
        <a:lstStyle/>
        <a:p>
          <a:pPr marL="0" lvl="0" indent="0" algn="just" defTabSz="800100">
            <a:lnSpc>
              <a:spcPct val="90000"/>
            </a:lnSpc>
            <a:spcBef>
              <a:spcPct val="0"/>
            </a:spcBef>
            <a:spcAft>
              <a:spcPct val="35000"/>
            </a:spcAft>
            <a:buNone/>
          </a:pPr>
          <a:r>
            <a:rPr lang="el-GR" sz="1800" kern="1200" dirty="0"/>
            <a:t>Ο Προσωπικός Ιατρός αποτελεί το πρώτο σημείο επαφής και τον πλοηγό του δικαιούχου στο Σύστημα</a:t>
          </a:r>
          <a:endParaRPr lang="en-GB" sz="1800" kern="1200" dirty="0"/>
        </a:p>
      </dsp:txBody>
      <dsp:txXfrm>
        <a:off x="2186947" y="2247663"/>
        <a:ext cx="6108436" cy="987180"/>
      </dsp:txXfrm>
    </dsp:sp>
    <dsp:sp modelId="{2CD631DE-7C4D-461D-822E-B7CE310726D3}">
      <dsp:nvSpPr>
        <dsp:cNvPr id="0" name=""/>
        <dsp:cNvSpPr/>
      </dsp:nvSpPr>
      <dsp:spPr>
        <a:xfrm>
          <a:off x="0" y="3370866"/>
          <a:ext cx="2062518" cy="971980"/>
        </a:xfrm>
        <a:prstGeom prst="chevron">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el-GR" sz="1600" kern="1200" dirty="0"/>
            <a:t>Επίσκεψη σε Ειδικό Ιατρό</a:t>
          </a:r>
          <a:endParaRPr lang="en-GB" sz="1600" kern="1200" dirty="0"/>
        </a:p>
      </dsp:txBody>
      <dsp:txXfrm>
        <a:off x="0" y="3370866"/>
        <a:ext cx="2062518" cy="971980"/>
      </dsp:txXfrm>
    </dsp:sp>
    <dsp:sp modelId="{5C20EC90-B668-4F4F-9959-C13BF19EF1E6}">
      <dsp:nvSpPr>
        <dsp:cNvPr id="0" name=""/>
        <dsp:cNvSpPr/>
      </dsp:nvSpPr>
      <dsp:spPr>
        <a:xfrm>
          <a:off x="2158342" y="3399846"/>
          <a:ext cx="6147971" cy="935617"/>
        </a:xfrm>
        <a:prstGeom prst="roundRect">
          <a:avLst/>
        </a:prstGeom>
        <a:solidFill>
          <a:schemeClr val="accent6">
            <a:lumMod val="20000"/>
            <a:lumOff val="80000"/>
          </a:schemeClr>
        </a:soli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22860" tIns="11430" rIns="0" bIns="11430" numCol="1" spcCol="1270" anchor="ctr" anchorCtr="0">
          <a:noAutofit/>
        </a:bodyPr>
        <a:lstStyle/>
        <a:p>
          <a:pPr marL="0" lvl="0" indent="0" algn="just" defTabSz="800100">
            <a:lnSpc>
              <a:spcPct val="90000"/>
            </a:lnSpc>
            <a:spcBef>
              <a:spcPct val="0"/>
            </a:spcBef>
            <a:spcAft>
              <a:spcPct val="35000"/>
            </a:spcAft>
            <a:buNone/>
          </a:pPr>
          <a:r>
            <a:rPr lang="el-GR" sz="1800" kern="1200" dirty="0"/>
            <a:t>Κατόπιν παραπομπής </a:t>
          </a:r>
          <a:endParaRPr lang="en-GB" sz="1800" kern="1200" dirty="0"/>
        </a:p>
      </dsp:txBody>
      <dsp:txXfrm>
        <a:off x="2158342" y="3399846"/>
        <a:ext cx="6147971" cy="935617"/>
      </dsp:txXfrm>
    </dsp:sp>
    <dsp:sp modelId="{3F961F54-87CF-48E0-AD87-E7208935833D}">
      <dsp:nvSpPr>
        <dsp:cNvPr id="0" name=""/>
        <dsp:cNvSpPr/>
      </dsp:nvSpPr>
      <dsp:spPr>
        <a:xfrm>
          <a:off x="0" y="4478869"/>
          <a:ext cx="2098831" cy="963284"/>
        </a:xfrm>
        <a:prstGeom prst="chevron">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el-GR" sz="1600" kern="1200" dirty="0"/>
            <a:t>Επίσκεψη σε άλλους παροχείς </a:t>
          </a:r>
          <a:endParaRPr lang="en-GB" sz="1600" kern="1200" dirty="0"/>
        </a:p>
      </dsp:txBody>
      <dsp:txXfrm>
        <a:off x="0" y="4478869"/>
        <a:ext cx="2098831" cy="963284"/>
      </dsp:txXfrm>
    </dsp:sp>
    <dsp:sp modelId="{04360386-42B1-4BDF-ADEB-965B0A3CB126}">
      <dsp:nvSpPr>
        <dsp:cNvPr id="0" name=""/>
        <dsp:cNvSpPr/>
      </dsp:nvSpPr>
      <dsp:spPr>
        <a:xfrm>
          <a:off x="2176792" y="4524963"/>
          <a:ext cx="6169764" cy="806420"/>
        </a:xfrm>
        <a:prstGeom prst="roundRect">
          <a:avLst/>
        </a:prstGeom>
        <a:solidFill>
          <a:schemeClr val="accent6">
            <a:lumMod val="20000"/>
            <a:lumOff val="80000"/>
          </a:schemeClr>
        </a:soli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22860" tIns="11430" rIns="0" bIns="11430" numCol="1" spcCol="1270" anchor="ctr" anchorCtr="0">
          <a:noAutofit/>
        </a:bodyPr>
        <a:lstStyle/>
        <a:p>
          <a:pPr marL="0" lvl="0" indent="0" algn="just" defTabSz="800100">
            <a:lnSpc>
              <a:spcPct val="90000"/>
            </a:lnSpc>
            <a:spcBef>
              <a:spcPct val="0"/>
            </a:spcBef>
            <a:spcAft>
              <a:spcPct val="35000"/>
            </a:spcAft>
            <a:buNone/>
          </a:pPr>
          <a:r>
            <a:rPr lang="el-GR" sz="1800" kern="1200" dirty="0"/>
            <a:t>Κατόπιν παραπομπής</a:t>
          </a:r>
          <a:endParaRPr lang="en-GB" sz="1800" kern="1200" dirty="0"/>
        </a:p>
      </dsp:txBody>
      <dsp:txXfrm>
        <a:off x="2176792" y="4524963"/>
        <a:ext cx="6169764" cy="806420"/>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 y="0"/>
            <a:ext cx="2945984" cy="495932"/>
          </a:xfrm>
          <a:prstGeom prst="rect">
            <a:avLst/>
          </a:prstGeom>
          <a:noFill/>
          <a:ln w="9525">
            <a:noFill/>
            <a:miter lim="800000"/>
            <a:headEnd/>
            <a:tailEnd/>
          </a:ln>
          <a:effectLst/>
        </p:spPr>
        <p:txBody>
          <a:bodyPr vert="horz" wrap="square" lIns="93222" tIns="46611" rIns="93222" bIns="46611" numCol="1" anchor="t" anchorCtr="0" compatLnSpc="1">
            <a:prstTxWarp prst="textNoShape">
              <a:avLst/>
            </a:prstTxWarp>
          </a:bodyPr>
          <a:lstStyle>
            <a:lvl1pPr algn="l" defTabSz="932941">
              <a:defRPr sz="1200">
                <a:latin typeface="Times New Roman" pitchFamily="18" charset="0"/>
                <a:ea typeface="+mn-ea"/>
                <a:cs typeface="+mn-cs"/>
              </a:defRPr>
            </a:lvl1pPr>
          </a:lstStyle>
          <a:p>
            <a:pPr>
              <a:defRPr/>
            </a:pPr>
            <a:endParaRPr lang="en-US"/>
          </a:p>
        </p:txBody>
      </p:sp>
      <p:sp>
        <p:nvSpPr>
          <p:cNvPr id="7171" name="Rectangle 3"/>
          <p:cNvSpPr>
            <a:spLocks noGrp="1" noChangeArrowheads="1"/>
          </p:cNvSpPr>
          <p:nvPr>
            <p:ph type="dt" sz="quarter" idx="1"/>
          </p:nvPr>
        </p:nvSpPr>
        <p:spPr bwMode="auto">
          <a:xfrm>
            <a:off x="3851692" y="0"/>
            <a:ext cx="2945983" cy="495932"/>
          </a:xfrm>
          <a:prstGeom prst="rect">
            <a:avLst/>
          </a:prstGeom>
          <a:noFill/>
          <a:ln w="9525">
            <a:noFill/>
            <a:miter lim="800000"/>
            <a:headEnd/>
            <a:tailEnd/>
          </a:ln>
          <a:effectLst/>
        </p:spPr>
        <p:txBody>
          <a:bodyPr vert="horz" wrap="square" lIns="93222" tIns="46611" rIns="93222" bIns="46611" numCol="1" anchor="t" anchorCtr="0" compatLnSpc="1">
            <a:prstTxWarp prst="textNoShape">
              <a:avLst/>
            </a:prstTxWarp>
          </a:bodyPr>
          <a:lstStyle>
            <a:lvl1pPr algn="r" defTabSz="932941">
              <a:defRPr sz="1200">
                <a:latin typeface="Times New Roman" pitchFamily="-106" charset="0"/>
                <a:ea typeface="ＭＳ Ｐゴシック" pitchFamily="-106" charset="-128"/>
                <a:cs typeface="+mn-cs"/>
              </a:defRPr>
            </a:lvl1pPr>
          </a:lstStyle>
          <a:p>
            <a:pPr>
              <a:defRPr/>
            </a:pPr>
            <a:fld id="{B730C6F0-124C-4CE0-ABA6-5A359784AEA5}" type="datetime1">
              <a:rPr lang="en-US"/>
              <a:pPr>
                <a:defRPr/>
              </a:pPr>
              <a:t>3/30/2018</a:t>
            </a:fld>
            <a:endParaRPr lang="en-US" dirty="0"/>
          </a:p>
        </p:txBody>
      </p:sp>
      <p:sp>
        <p:nvSpPr>
          <p:cNvPr id="7172" name="Rectangle 4"/>
          <p:cNvSpPr>
            <a:spLocks noGrp="1" noChangeArrowheads="1"/>
          </p:cNvSpPr>
          <p:nvPr>
            <p:ph type="ftr" sz="quarter" idx="2"/>
          </p:nvPr>
        </p:nvSpPr>
        <p:spPr bwMode="auto">
          <a:xfrm>
            <a:off x="1" y="9430707"/>
            <a:ext cx="2945984" cy="495932"/>
          </a:xfrm>
          <a:prstGeom prst="rect">
            <a:avLst/>
          </a:prstGeom>
          <a:noFill/>
          <a:ln w="9525">
            <a:noFill/>
            <a:miter lim="800000"/>
            <a:headEnd/>
            <a:tailEnd/>
          </a:ln>
          <a:effectLst/>
        </p:spPr>
        <p:txBody>
          <a:bodyPr vert="horz" wrap="square" lIns="93222" tIns="46611" rIns="93222" bIns="46611" numCol="1" anchor="b" anchorCtr="0" compatLnSpc="1">
            <a:prstTxWarp prst="textNoShape">
              <a:avLst/>
            </a:prstTxWarp>
          </a:bodyPr>
          <a:lstStyle>
            <a:lvl1pPr algn="l" defTabSz="932941">
              <a:defRPr sz="1200">
                <a:latin typeface="Times New Roman" pitchFamily="18" charset="0"/>
                <a:ea typeface="+mn-ea"/>
                <a:cs typeface="+mn-cs"/>
              </a:defRPr>
            </a:lvl1pPr>
          </a:lstStyle>
          <a:p>
            <a:pPr>
              <a:defRPr/>
            </a:pPr>
            <a:endParaRPr lang="en-US" dirty="0"/>
          </a:p>
        </p:txBody>
      </p:sp>
      <p:sp>
        <p:nvSpPr>
          <p:cNvPr id="7173" name="Rectangle 5"/>
          <p:cNvSpPr>
            <a:spLocks noGrp="1" noChangeArrowheads="1"/>
          </p:cNvSpPr>
          <p:nvPr>
            <p:ph type="sldNum" sz="quarter" idx="3"/>
          </p:nvPr>
        </p:nvSpPr>
        <p:spPr bwMode="auto">
          <a:xfrm>
            <a:off x="3851692" y="9430707"/>
            <a:ext cx="2945983" cy="495932"/>
          </a:xfrm>
          <a:prstGeom prst="rect">
            <a:avLst/>
          </a:prstGeom>
          <a:noFill/>
          <a:ln w="9525">
            <a:noFill/>
            <a:miter lim="800000"/>
            <a:headEnd/>
            <a:tailEnd/>
          </a:ln>
          <a:effectLst/>
        </p:spPr>
        <p:txBody>
          <a:bodyPr vert="horz" wrap="square" lIns="93222" tIns="46611" rIns="93222" bIns="46611" numCol="1" anchor="b" anchorCtr="0" compatLnSpc="1">
            <a:prstTxWarp prst="textNoShape">
              <a:avLst/>
            </a:prstTxWarp>
          </a:bodyPr>
          <a:lstStyle>
            <a:lvl1pPr algn="r" defTabSz="932941">
              <a:defRPr sz="1200">
                <a:latin typeface="Times New Roman" pitchFamily="-106" charset="0"/>
                <a:ea typeface="ＭＳ Ｐゴシック" pitchFamily="-106" charset="-128"/>
                <a:cs typeface="+mn-cs"/>
              </a:defRPr>
            </a:lvl1pPr>
          </a:lstStyle>
          <a:p>
            <a:pPr>
              <a:defRPr/>
            </a:pPr>
            <a:fld id="{1B0A4248-D7A3-4F71-B1D7-AF4053535F40}" type="slidenum">
              <a:rPr lang="en-US"/>
              <a:pPr>
                <a:defRPr/>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842" name="Rectangle 4"/>
          <p:cNvSpPr>
            <a:spLocks noGrp="1" noRot="1" noChangeAspect="1" noChangeArrowheads="1" noTextEdit="1"/>
          </p:cNvSpPr>
          <p:nvPr>
            <p:ph type="sldImg" idx="2"/>
          </p:nvPr>
        </p:nvSpPr>
        <p:spPr bwMode="gray">
          <a:xfrm>
            <a:off x="-2251075" y="1277938"/>
            <a:ext cx="11307763" cy="8482012"/>
          </a:xfrm>
          <a:prstGeom prst="rect">
            <a:avLst/>
          </a:prstGeom>
          <a:noFill/>
          <a:ln w="9525">
            <a:noFill/>
            <a:miter lim="800000"/>
            <a:headEnd/>
            <a:tailEnd/>
          </a:ln>
        </p:spPr>
      </p:sp>
      <p:sp>
        <p:nvSpPr>
          <p:cNvPr id="5125" name="Rectangle 5"/>
          <p:cNvSpPr>
            <a:spLocks noGrp="1" noChangeArrowheads="1"/>
          </p:cNvSpPr>
          <p:nvPr>
            <p:ph type="body" sz="quarter" idx="3"/>
          </p:nvPr>
        </p:nvSpPr>
        <p:spPr bwMode="gray">
          <a:xfrm>
            <a:off x="808320" y="367950"/>
            <a:ext cx="5231354" cy="22237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GB" noProof="0"/>
              <a:t>Click to edit Master text styles</a:t>
            </a:r>
          </a:p>
        </p:txBody>
      </p:sp>
      <p:sp>
        <p:nvSpPr>
          <p:cNvPr id="5126" name="doc id"/>
          <p:cNvSpPr>
            <a:spLocks noGrp="1" noChangeArrowheads="1"/>
          </p:cNvSpPr>
          <p:nvPr>
            <p:ph type="ftr" sz="quarter" idx="4"/>
          </p:nvPr>
        </p:nvSpPr>
        <p:spPr bwMode="gray">
          <a:xfrm>
            <a:off x="6606081" y="108786"/>
            <a:ext cx="65" cy="123111"/>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32941">
              <a:defRPr sz="800">
                <a:latin typeface="Arial" charset="0"/>
                <a:ea typeface="+mn-ea"/>
                <a:cs typeface="+mn-cs"/>
              </a:defRPr>
            </a:lvl1pPr>
          </a:lstStyle>
          <a:p>
            <a:pPr>
              <a:defRPr/>
            </a:pPr>
            <a:endParaRPr lang="en-GB" dirty="0"/>
          </a:p>
        </p:txBody>
      </p:sp>
      <p:sp>
        <p:nvSpPr>
          <p:cNvPr id="5127" name="Rectangle 7"/>
          <p:cNvSpPr>
            <a:spLocks noGrp="1" noChangeArrowheads="1"/>
          </p:cNvSpPr>
          <p:nvPr>
            <p:ph type="sldNum" sz="quarter" idx="5"/>
          </p:nvPr>
        </p:nvSpPr>
        <p:spPr bwMode="gray">
          <a:xfrm>
            <a:off x="6065644" y="9542690"/>
            <a:ext cx="540502" cy="18557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32941">
              <a:defRPr sz="1200">
                <a:latin typeface="Arial" charset="0"/>
                <a:ea typeface="ＭＳ Ｐゴシック" pitchFamily="-106" charset="-128"/>
                <a:cs typeface="+mn-cs"/>
              </a:defRPr>
            </a:lvl1pPr>
          </a:lstStyle>
          <a:p>
            <a:pPr>
              <a:defRPr/>
            </a:pPr>
            <a:fld id="{C2FD5741-CABE-4040-BE4B-88C35D480E98}" type="slidenum">
              <a:rPr lang="en-GB"/>
              <a:pPr>
                <a:defRPr/>
              </a:pPr>
              <a:t>‹#›</a:t>
            </a:fld>
            <a:endParaRPr lang="en-GB"/>
          </a:p>
        </p:txBody>
      </p:sp>
      <p:sp>
        <p:nvSpPr>
          <p:cNvPr id="5137" name="McK Separator" hidden="1"/>
          <p:cNvSpPr>
            <a:spLocks noChangeShapeType="1"/>
          </p:cNvSpPr>
          <p:nvPr/>
        </p:nvSpPr>
        <p:spPr bwMode="gray">
          <a:xfrm>
            <a:off x="814813" y="1506993"/>
            <a:ext cx="5198891" cy="0"/>
          </a:xfrm>
          <a:prstGeom prst="line">
            <a:avLst/>
          </a:prstGeom>
          <a:noFill/>
          <a:ln w="9525">
            <a:solidFill>
              <a:schemeClr val="tx1"/>
            </a:solidFill>
            <a:round/>
            <a:headEnd/>
            <a:tailEnd/>
          </a:ln>
          <a:effectLst/>
        </p:spPr>
        <p:txBody>
          <a:bodyPr lIns="92174" tIns="46087" rIns="92174" bIns="46087"/>
          <a:lstStyle/>
          <a:p>
            <a:pPr algn="ctr">
              <a:defRPr/>
            </a:pPr>
            <a:endParaRPr lang="en-US">
              <a:latin typeface="Arial" charset="0"/>
              <a:ea typeface="+mn-ea"/>
            </a:endParaRPr>
          </a:p>
        </p:txBody>
      </p:sp>
    </p:spTree>
  </p:cSld>
  <p:clrMap bg1="lt1" tx1="dk1" bg2="lt2" tx2="dk2" accent1="accent1" accent2="accent2" accent3="accent3" accent4="accent4" accent5="accent5" accent6="accent6" hlink="hlink" folHlink="folHlink"/>
  <p:hf hdr="0" dt="0"/>
  <p:notesStyle>
    <a:lvl1pPr algn="l" rtl="0" eaLnBrk="0" fontAlgn="base" hangingPunct="0">
      <a:lnSpc>
        <a:spcPct val="90000"/>
      </a:lnSpc>
      <a:spcBef>
        <a:spcPct val="30000"/>
      </a:spcBef>
      <a:spcAft>
        <a:spcPct val="0"/>
      </a:spcAft>
      <a:defRPr sz="1600" b="1" kern="1200">
        <a:solidFill>
          <a:schemeClr val="tx1"/>
        </a:solidFill>
        <a:latin typeface="Arial" charset="0"/>
        <a:ea typeface="ＭＳ Ｐゴシック" pitchFamily="-106" charset="-128"/>
        <a:cs typeface="ＭＳ Ｐゴシック"/>
      </a:defRPr>
    </a:lvl1pPr>
    <a:lvl2pPr marL="742950" indent="-285750" algn="l" rtl="0" eaLnBrk="0" fontAlgn="base" hangingPunct="0">
      <a:spcBef>
        <a:spcPct val="30000"/>
      </a:spcBef>
      <a:spcAft>
        <a:spcPct val="0"/>
      </a:spcAft>
      <a:defRPr sz="1200" kern="1200">
        <a:solidFill>
          <a:schemeClr val="tx1"/>
        </a:solidFill>
        <a:latin typeface="Times New Roman" pitchFamily="18" charset="0"/>
        <a:ea typeface="ＭＳ Ｐゴシック" pitchFamily="-106" charset="-128"/>
        <a:cs typeface="ＭＳ Ｐゴシック"/>
      </a:defRPr>
    </a:lvl2pPr>
    <a:lvl3pPr marL="1143000" indent="-228600" algn="l" rtl="0" eaLnBrk="0" fontAlgn="base" hangingPunct="0">
      <a:spcBef>
        <a:spcPct val="30000"/>
      </a:spcBef>
      <a:spcAft>
        <a:spcPct val="0"/>
      </a:spcAft>
      <a:defRPr sz="1200" kern="1200">
        <a:solidFill>
          <a:schemeClr val="tx1"/>
        </a:solidFill>
        <a:latin typeface="Times New Roman" pitchFamily="18" charset="0"/>
        <a:ea typeface="ＭＳ Ｐゴシック" pitchFamily="-106" charset="-128"/>
        <a:cs typeface="ＭＳ Ｐゴシック"/>
      </a:defRPr>
    </a:lvl3pPr>
    <a:lvl4pPr marL="1600200" indent="-228600" algn="l" rtl="0" eaLnBrk="0" fontAlgn="base" hangingPunct="0">
      <a:spcBef>
        <a:spcPct val="30000"/>
      </a:spcBef>
      <a:spcAft>
        <a:spcPct val="0"/>
      </a:spcAft>
      <a:defRPr sz="1200" kern="1200">
        <a:solidFill>
          <a:schemeClr val="tx1"/>
        </a:solidFill>
        <a:latin typeface="Times New Roman" pitchFamily="18" charset="0"/>
        <a:ea typeface="ＭＳ Ｐゴシック" pitchFamily="-106" charset="-128"/>
        <a:cs typeface="ＭＳ Ｐゴシック"/>
      </a:defRPr>
    </a:lvl4pPr>
    <a:lvl5pPr marL="2057400" indent="-228600" algn="l" rtl="0" eaLnBrk="0" fontAlgn="base" hangingPunct="0">
      <a:spcBef>
        <a:spcPct val="30000"/>
      </a:spcBef>
      <a:spcAft>
        <a:spcPct val="0"/>
      </a:spcAft>
      <a:defRPr sz="1200" kern="1200">
        <a:solidFill>
          <a:schemeClr val="tx1"/>
        </a:solidFill>
        <a:latin typeface="Times New Roman" pitchFamily="18" charset="0"/>
        <a:ea typeface="ＭＳ Ｐゴシック" pitchFamily="-106" charset="-128"/>
        <a:cs typeface="ＭＳ Ｐゴシック"/>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doc id"/>
          <p:cNvSpPr>
            <a:spLocks noGrp="1" noChangeArrowheads="1"/>
          </p:cNvSpPr>
          <p:nvPr>
            <p:ph type="ftr" sz="quarter" idx="4"/>
          </p:nvPr>
        </p:nvSpPr>
        <p:spPr>
          <a:xfrm>
            <a:off x="4496772" y="188859"/>
            <a:ext cx="2109371" cy="124063"/>
          </a:xfrm>
          <a:noFill/>
        </p:spPr>
        <p:txBody>
          <a:bodyPr/>
          <a:lstStyle/>
          <a:p>
            <a:r>
              <a:rPr lang="en-GB" dirty="0"/>
              <a:t>Final deliverable - Chapter 1 (Financing v1.8)</a:t>
            </a:r>
          </a:p>
        </p:txBody>
      </p:sp>
      <p:sp>
        <p:nvSpPr>
          <p:cNvPr id="30723" name="Rectangle 7"/>
          <p:cNvSpPr>
            <a:spLocks noGrp="1" noChangeArrowheads="1"/>
          </p:cNvSpPr>
          <p:nvPr>
            <p:ph type="sldNum" sz="quarter" idx="5"/>
          </p:nvPr>
        </p:nvSpPr>
        <p:spPr>
          <a:xfrm>
            <a:off x="6051279" y="9542730"/>
            <a:ext cx="540935" cy="186095"/>
          </a:xfrm>
          <a:noFill/>
        </p:spPr>
        <p:txBody>
          <a:bodyPr/>
          <a:lstStyle/>
          <a:p>
            <a:fld id="{ED604D42-A086-48F9-8BFE-E5ED91E6656B}" type="slidenum">
              <a:rPr lang="en-GB" smtClean="0"/>
              <a:pPr/>
              <a:t>0</a:t>
            </a:fld>
            <a:endParaRPr lang="en-GB" dirty="0"/>
          </a:p>
        </p:txBody>
      </p:sp>
      <p:sp>
        <p:nvSpPr>
          <p:cNvPr id="30724" name="Rectangle 6"/>
          <p:cNvSpPr>
            <a:spLocks noGrp="1" noRot="1" noChangeAspect="1" noChangeArrowheads="1" noTextEdit="1"/>
          </p:cNvSpPr>
          <p:nvPr>
            <p:ph type="sldImg"/>
          </p:nvPr>
        </p:nvSpPr>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p:sp>
      <p:sp>
        <p:nvSpPr>
          <p:cNvPr id="46083" name="Notes Placeholder 2"/>
          <p:cNvSpPr>
            <a:spLocks noGrp="1"/>
          </p:cNvSpPr>
          <p:nvPr>
            <p:ph type="body" idx="1"/>
          </p:nvPr>
        </p:nvSpPr>
        <p:spPr>
          <a:noFill/>
          <a:ln/>
        </p:spPr>
        <p:txBody>
          <a:bodyPr/>
          <a:lstStyle/>
          <a:p>
            <a:endParaRPr lang="el-GR">
              <a:latin typeface="Arial" pitchFamily="34" charset="0"/>
              <a:ea typeface="ＭＳ Ｐゴシック" pitchFamily="34" charset="-128"/>
            </a:endParaRPr>
          </a:p>
        </p:txBody>
      </p:sp>
      <p:sp>
        <p:nvSpPr>
          <p:cNvPr id="4" name="Slide Number Placeholder 3"/>
          <p:cNvSpPr>
            <a:spLocks noGrp="1"/>
          </p:cNvSpPr>
          <p:nvPr>
            <p:ph type="sldNum" sz="quarter" idx="5"/>
          </p:nvPr>
        </p:nvSpPr>
        <p:spPr/>
        <p:txBody>
          <a:bodyPr/>
          <a:lstStyle/>
          <a:p>
            <a:pPr>
              <a:defRPr/>
            </a:pPr>
            <a:fld id="{30F7C556-9A4A-41EA-BDBD-79900C6394A0}" type="slidenum">
              <a:rPr lang="en-US" smtClean="0"/>
              <a:pPr>
                <a:defRPr/>
              </a:pPr>
              <a:t>21</a:t>
            </a:fld>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p:sp>
      <p:sp>
        <p:nvSpPr>
          <p:cNvPr id="49155" name="Notes Placeholder 2"/>
          <p:cNvSpPr>
            <a:spLocks noGrp="1"/>
          </p:cNvSpPr>
          <p:nvPr>
            <p:ph type="body" idx="1"/>
          </p:nvPr>
        </p:nvSpPr>
        <p:spPr>
          <a:noFill/>
          <a:ln/>
        </p:spPr>
        <p:txBody>
          <a:bodyPr/>
          <a:lstStyle/>
          <a:p>
            <a:endParaRPr lang="el-GR">
              <a:latin typeface="Arial" pitchFamily="34" charset="0"/>
              <a:ea typeface="ＭＳ Ｐゴシック" pitchFamily="34" charset="-128"/>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p:sp>
      <p:sp>
        <p:nvSpPr>
          <p:cNvPr id="51203" name="Notes Placeholder 2"/>
          <p:cNvSpPr>
            <a:spLocks noGrp="1"/>
          </p:cNvSpPr>
          <p:nvPr>
            <p:ph type="body" idx="1"/>
          </p:nvPr>
        </p:nvSpPr>
        <p:spPr>
          <a:noFill/>
          <a:ln/>
        </p:spPr>
        <p:txBody>
          <a:bodyPr/>
          <a:lstStyle/>
          <a:p>
            <a:endParaRPr lang="el-GR">
              <a:latin typeface="Arial" pitchFamily="34" charset="0"/>
              <a:ea typeface="ＭＳ Ｐゴシック" pitchFamily="34" charset="-128"/>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p:sp>
      <p:sp>
        <p:nvSpPr>
          <p:cNvPr id="52227" name="Notes Placeholder 2"/>
          <p:cNvSpPr>
            <a:spLocks noGrp="1"/>
          </p:cNvSpPr>
          <p:nvPr>
            <p:ph type="body" idx="1"/>
          </p:nvPr>
        </p:nvSpPr>
        <p:spPr>
          <a:noFill/>
          <a:ln/>
        </p:spPr>
        <p:txBody>
          <a:bodyPr/>
          <a:lstStyle/>
          <a:p>
            <a:endParaRPr lang="el-GR">
              <a:latin typeface="Arial" pitchFamily="34" charset="0"/>
              <a:ea typeface="ＭＳ Ｐゴシック" pitchFamily="34"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p:sp>
      <p:sp>
        <p:nvSpPr>
          <p:cNvPr id="53251" name="Notes Placeholder 2"/>
          <p:cNvSpPr>
            <a:spLocks noGrp="1"/>
          </p:cNvSpPr>
          <p:nvPr>
            <p:ph type="body" idx="1"/>
          </p:nvPr>
        </p:nvSpPr>
        <p:spPr>
          <a:noFill/>
          <a:ln/>
        </p:spPr>
        <p:txBody>
          <a:bodyPr/>
          <a:lstStyle/>
          <a:p>
            <a:endParaRPr lang="el-GR">
              <a:latin typeface="Arial" pitchFamily="34" charset="0"/>
              <a:ea typeface="ＭＳ Ｐゴシック" pitchFamily="34" charset="-128"/>
            </a:endParaRPr>
          </a:p>
        </p:txBody>
      </p:sp>
      <p:sp>
        <p:nvSpPr>
          <p:cNvPr id="4" name="Footer Placeholder 3"/>
          <p:cNvSpPr>
            <a:spLocks noGrp="1"/>
          </p:cNvSpPr>
          <p:nvPr>
            <p:ph type="ftr" sz="quarter" idx="4"/>
          </p:nvPr>
        </p:nvSpPr>
        <p:spPr>
          <a:xfrm>
            <a:off x="6606082" y="108786"/>
            <a:ext cx="65" cy="123111"/>
          </a:xfrm>
        </p:spPr>
        <p:txBody>
          <a:bodyPr/>
          <a:lstStyle/>
          <a:p>
            <a:pPr>
              <a:defRPr/>
            </a:pPr>
            <a:endParaRPr lang="en-GB"/>
          </a:p>
        </p:txBody>
      </p:sp>
      <p:sp>
        <p:nvSpPr>
          <p:cNvPr id="34821" name="Slide Number Placeholder 4"/>
          <p:cNvSpPr>
            <a:spLocks noGrp="1"/>
          </p:cNvSpPr>
          <p:nvPr>
            <p:ph type="sldNum" sz="quarter" idx="5"/>
          </p:nvPr>
        </p:nvSpPr>
        <p:spPr/>
        <p:txBody>
          <a:bodyPr/>
          <a:lstStyle/>
          <a:p>
            <a:pPr>
              <a:defRPr/>
            </a:pPr>
            <a:fld id="{07584B51-B98A-4A5A-8524-A401959BA761}" type="slidenum">
              <a:rPr lang="en-GB" smtClean="0">
                <a:ea typeface="ＭＳ Ｐゴシック" pitchFamily="34" charset="-128"/>
              </a:rPr>
              <a:pPr>
                <a:defRPr/>
              </a:pPr>
              <a:t>31</a:t>
            </a:fld>
            <a:endParaRPr lang="en-GB">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p:sp>
      <p:sp>
        <p:nvSpPr>
          <p:cNvPr id="37891" name="Rectangle 3"/>
          <p:cNvSpPr>
            <a:spLocks noGrp="1" noChangeArrowheads="1"/>
          </p:cNvSpPr>
          <p:nvPr>
            <p:ph type="body" idx="1"/>
          </p:nvPr>
        </p:nvSpPr>
        <p:spPr>
          <a:xfrm>
            <a:off x="806697" y="367950"/>
            <a:ext cx="5232976" cy="222370"/>
          </a:xfrm>
          <a:noFill/>
          <a:ln/>
        </p:spPr>
        <p:txBody>
          <a:bodyPr/>
          <a:lstStyle/>
          <a:p>
            <a:endParaRPr lang="el-GR" dirty="0">
              <a:latin typeface="Arial" pitchFamily="34" charset="0"/>
              <a:ea typeface="ＭＳ Ｐゴシック"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p:sp>
      <p:sp>
        <p:nvSpPr>
          <p:cNvPr id="38915" name="Notes Placeholder 2"/>
          <p:cNvSpPr>
            <a:spLocks noGrp="1"/>
          </p:cNvSpPr>
          <p:nvPr>
            <p:ph type="body" idx="1"/>
          </p:nvPr>
        </p:nvSpPr>
        <p:spPr>
          <a:noFill/>
          <a:ln/>
        </p:spPr>
        <p:txBody>
          <a:bodyPr/>
          <a:lstStyle/>
          <a:p>
            <a:endParaRPr lang="el-GR" dirty="0">
              <a:latin typeface="Arial" pitchFamily="34" charset="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p:sp>
      <p:sp>
        <p:nvSpPr>
          <p:cNvPr id="39939" name="Notes Placeholder 2"/>
          <p:cNvSpPr>
            <a:spLocks noGrp="1"/>
          </p:cNvSpPr>
          <p:nvPr>
            <p:ph type="body" idx="1"/>
          </p:nvPr>
        </p:nvSpPr>
        <p:spPr>
          <a:noFill/>
          <a:ln/>
        </p:spPr>
        <p:txBody>
          <a:bodyPr/>
          <a:lstStyle/>
          <a:p>
            <a:endParaRPr lang="el-GR" dirty="0">
              <a:latin typeface="Arial" pitchFamily="34" charset="0"/>
              <a:ea typeface="ＭＳ Ｐゴシック"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doc id"/>
          <p:cNvSpPr>
            <a:spLocks noGrp="1" noChangeArrowheads="1"/>
          </p:cNvSpPr>
          <p:nvPr>
            <p:ph type="ftr" sz="quarter" idx="4"/>
          </p:nvPr>
        </p:nvSpPr>
        <p:spPr>
          <a:xfrm>
            <a:off x="3412180" y="109301"/>
            <a:ext cx="3194376" cy="124063"/>
          </a:xfrm>
          <a:noFill/>
        </p:spPr>
        <p:txBody>
          <a:bodyPr/>
          <a:lstStyle/>
          <a:p>
            <a:r>
              <a:rPr lang="en-GB" dirty="0">
                <a:ea typeface="ＭＳ Ｐゴシック" pitchFamily="34" charset="-128"/>
              </a:rPr>
              <a:t>SW-CYP003-2006-11-30-STC discussion 14 December 2006 AIv0.3</a:t>
            </a:r>
          </a:p>
        </p:txBody>
      </p:sp>
      <p:sp>
        <p:nvSpPr>
          <p:cNvPr id="33795" name="Rectangle 7"/>
          <p:cNvSpPr>
            <a:spLocks noGrp="1" noChangeArrowheads="1"/>
          </p:cNvSpPr>
          <p:nvPr>
            <p:ph type="sldNum" sz="quarter" idx="5"/>
          </p:nvPr>
        </p:nvSpPr>
        <p:spPr>
          <a:noFill/>
        </p:spPr>
        <p:txBody>
          <a:bodyPr/>
          <a:lstStyle/>
          <a:p>
            <a:fld id="{2E9ACC51-1530-4E32-B034-659489F8951E}" type="slidenum">
              <a:rPr lang="en-GB" smtClean="0">
                <a:ea typeface="ＭＳ Ｐゴシック" pitchFamily="34" charset="-128"/>
              </a:rPr>
              <a:pPr/>
              <a:t>10</a:t>
            </a:fld>
            <a:endParaRPr lang="en-GB" dirty="0">
              <a:ea typeface="ＭＳ Ｐゴシック" pitchFamily="34" charset="-128"/>
            </a:endParaRPr>
          </a:p>
        </p:txBody>
      </p:sp>
      <p:sp>
        <p:nvSpPr>
          <p:cNvPr id="33796" name="Rectangle 2"/>
          <p:cNvSpPr>
            <a:spLocks noGrp="1" noRot="1" noChangeAspect="1" noChangeArrowheads="1" noTextEdit="1"/>
          </p:cNvSpPr>
          <p:nvPr>
            <p:ph type="sldImg"/>
          </p:nvPr>
        </p:nvSpPr>
        <p:spPr>
          <a:xfrm>
            <a:off x="-2276475" y="1276350"/>
            <a:ext cx="11309350" cy="8483600"/>
          </a:xfrm>
        </p:spPr>
      </p:sp>
      <p:sp>
        <p:nvSpPr>
          <p:cNvPr id="33797" name="Rectangle 3"/>
          <p:cNvSpPr>
            <a:spLocks noGrp="1" noChangeArrowheads="1"/>
          </p:cNvSpPr>
          <p:nvPr>
            <p:ph type="body" idx="1"/>
          </p:nvPr>
        </p:nvSpPr>
        <p:spPr>
          <a:xfrm>
            <a:off x="809826" y="368300"/>
            <a:ext cx="5199079" cy="222250"/>
          </a:xfrm>
          <a:noFill/>
          <a:ln/>
        </p:spPr>
        <p:txBody>
          <a:bodyPr/>
          <a:lstStyle/>
          <a:p>
            <a:pPr eaLnBrk="1" hangingPunct="1"/>
            <a:endParaRPr lang="en-GB" dirty="0">
              <a:ea typeface="ＭＳ Ｐゴシック" pitchFamily="34"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2278063" y="1277938"/>
            <a:ext cx="11309351" cy="8482012"/>
          </a:xfrm>
        </p:spPr>
      </p:sp>
      <p:sp>
        <p:nvSpPr>
          <p:cNvPr id="32771" name="Rectangle 3"/>
          <p:cNvSpPr>
            <a:spLocks noGrp="1" noChangeArrowheads="1"/>
          </p:cNvSpPr>
          <p:nvPr>
            <p:ph type="body" idx="1"/>
          </p:nvPr>
        </p:nvSpPr>
        <p:spPr>
          <a:xfrm>
            <a:off x="745041" y="368300"/>
            <a:ext cx="5270343" cy="222250"/>
          </a:xfrm>
          <a:noFill/>
          <a:ln/>
        </p:spPr>
        <p:txBody>
          <a:bodyPr/>
          <a:lstStyle/>
          <a:p>
            <a:pPr eaLnBrk="1" hangingPunct="1"/>
            <a:endParaRPr lang="en-GB" dirty="0">
              <a:ea typeface="ＭＳ Ｐゴシック" pitchFamily="34"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p:sp>
      <p:sp>
        <p:nvSpPr>
          <p:cNvPr id="45059" name="Notes Placeholder 2"/>
          <p:cNvSpPr>
            <a:spLocks noGrp="1"/>
          </p:cNvSpPr>
          <p:nvPr>
            <p:ph type="body" idx="1"/>
          </p:nvPr>
        </p:nvSpPr>
        <p:spPr>
          <a:noFill/>
          <a:ln/>
        </p:spPr>
        <p:txBody>
          <a:bodyPr/>
          <a:lstStyle/>
          <a:p>
            <a:endParaRPr lang="el-GR" dirty="0">
              <a:latin typeface="Arial" pitchFamily="34" charset="0"/>
              <a:ea typeface="ＭＳ Ｐゴシック"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3.jpe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2.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slideMaster" Target="../slideMasters/slideMaster1.xml"/><Relationship Id="rId5" Type="http://schemas.openxmlformats.org/officeDocument/2006/relationships/tags" Target="../tags/tag7.xml"/><Relationship Id="rId15" Type="http://schemas.openxmlformats.org/officeDocument/2006/relationships/image" Target="../media/image5.jpeg"/><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82" descr="MPj03994070000[1]"/>
          <p:cNvPicPr>
            <a:picLocks noChangeAspect="1" noChangeArrowheads="1"/>
          </p:cNvPicPr>
          <p:nvPr userDrawn="1">
            <p:custDataLst>
              <p:tags r:id="rId1"/>
            </p:custDataLst>
          </p:nvPr>
        </p:nvPicPr>
        <p:blipFill>
          <a:blip r:embed="rId12" cstate="print"/>
          <a:srcRect l="20485"/>
          <a:stretch>
            <a:fillRect/>
          </a:stretch>
        </p:blipFill>
        <p:spPr bwMode="auto">
          <a:xfrm>
            <a:off x="0" y="3362325"/>
            <a:ext cx="2133600" cy="1787525"/>
          </a:xfrm>
          <a:prstGeom prst="rect">
            <a:avLst/>
          </a:prstGeom>
          <a:noFill/>
          <a:ln w="9525">
            <a:noFill/>
            <a:miter lim="800000"/>
            <a:headEnd/>
            <a:tailEnd/>
          </a:ln>
        </p:spPr>
      </p:pic>
      <p:pic>
        <p:nvPicPr>
          <p:cNvPr id="5" name="Picture 1083" descr="MPj04230410000[1]"/>
          <p:cNvPicPr>
            <a:picLocks noChangeAspect="1" noChangeArrowheads="1"/>
          </p:cNvPicPr>
          <p:nvPr userDrawn="1">
            <p:custDataLst>
              <p:tags r:id="rId2"/>
            </p:custDataLst>
          </p:nvPr>
        </p:nvPicPr>
        <p:blipFill>
          <a:blip r:embed="rId13" cstate="print"/>
          <a:srcRect t="8595" b="7175"/>
          <a:stretch>
            <a:fillRect/>
          </a:stretch>
        </p:blipFill>
        <p:spPr bwMode="auto">
          <a:xfrm>
            <a:off x="0" y="0"/>
            <a:ext cx="2133600" cy="1789113"/>
          </a:xfrm>
          <a:prstGeom prst="rect">
            <a:avLst/>
          </a:prstGeom>
          <a:noFill/>
          <a:ln w="9525">
            <a:noFill/>
            <a:miter lim="800000"/>
            <a:headEnd/>
            <a:tailEnd/>
          </a:ln>
        </p:spPr>
      </p:pic>
      <p:grpSp>
        <p:nvGrpSpPr>
          <p:cNvPr id="6" name="McK Title Elements"/>
          <p:cNvGrpSpPr>
            <a:grpSpLocks/>
          </p:cNvGrpSpPr>
          <p:nvPr/>
        </p:nvGrpSpPr>
        <p:grpSpPr bwMode="auto">
          <a:xfrm>
            <a:off x="2640013" y="2139950"/>
            <a:ext cx="5272087" cy="4510088"/>
            <a:chOff x="1663" y="1348"/>
            <a:chExt cx="3321" cy="2841"/>
          </a:xfrm>
        </p:grpSpPr>
        <p:sp>
          <p:nvSpPr>
            <p:cNvPr id="7" name="McK Confidential" hidden="1"/>
            <p:cNvSpPr txBox="1">
              <a:spLocks noChangeArrowheads="1"/>
            </p:cNvSpPr>
            <p:nvPr userDrawn="1"/>
          </p:nvSpPr>
          <p:spPr bwMode="auto">
            <a:xfrm>
              <a:off x="1663" y="1348"/>
              <a:ext cx="936" cy="134"/>
            </a:xfrm>
            <a:prstGeom prst="rect">
              <a:avLst/>
            </a:prstGeom>
            <a:noFill/>
            <a:ln w="9525">
              <a:noFill/>
              <a:miter lim="800000"/>
              <a:headEnd/>
              <a:tailEnd/>
            </a:ln>
            <a:effectLst/>
          </p:spPr>
          <p:txBody>
            <a:bodyPr lIns="0" tIns="0" rIns="0" bIns="0">
              <a:spAutoFit/>
            </a:bodyPr>
            <a:lstStyle/>
            <a:p>
              <a:pPr>
                <a:defRPr/>
              </a:pPr>
              <a:r>
                <a:rPr lang="en-GB" sz="1400">
                  <a:latin typeface="Arial" charset="0"/>
                  <a:ea typeface="+mn-ea"/>
                </a:rPr>
                <a:t>CONFIDENTIAL</a:t>
              </a:r>
            </a:p>
          </p:txBody>
        </p:sp>
        <p:sp>
          <p:nvSpPr>
            <p:cNvPr id="8" name="McK Document" hidden="1"/>
            <p:cNvSpPr txBox="1">
              <a:spLocks noChangeArrowheads="1"/>
            </p:cNvSpPr>
            <p:nvPr userDrawn="1"/>
          </p:nvSpPr>
          <p:spPr bwMode="auto">
            <a:xfrm>
              <a:off x="1663" y="3049"/>
              <a:ext cx="3167" cy="134"/>
            </a:xfrm>
            <a:prstGeom prst="rect">
              <a:avLst/>
            </a:prstGeom>
            <a:noFill/>
            <a:ln w="9525">
              <a:noFill/>
              <a:miter lim="800000"/>
              <a:headEnd/>
              <a:tailEnd/>
            </a:ln>
            <a:effectLst/>
          </p:spPr>
          <p:txBody>
            <a:bodyPr lIns="0" tIns="0" rIns="0" bIns="0" anchor="b">
              <a:spAutoFit/>
            </a:bodyPr>
            <a:lstStyle/>
            <a:p>
              <a:pPr>
                <a:defRPr/>
              </a:pPr>
              <a:r>
                <a:rPr lang="en-GB" sz="1400">
                  <a:latin typeface="Arial" charset="0"/>
                  <a:ea typeface="+mn-ea"/>
                </a:rPr>
                <a:t>Document</a:t>
              </a:r>
            </a:p>
          </p:txBody>
        </p:sp>
        <p:sp>
          <p:nvSpPr>
            <p:cNvPr id="9" name="McK Date" hidden="1"/>
            <p:cNvSpPr txBox="1">
              <a:spLocks noChangeArrowheads="1"/>
            </p:cNvSpPr>
            <p:nvPr userDrawn="1"/>
          </p:nvSpPr>
          <p:spPr bwMode="auto">
            <a:xfrm>
              <a:off x="1663" y="3216"/>
              <a:ext cx="3167" cy="134"/>
            </a:xfrm>
            <a:prstGeom prst="rect">
              <a:avLst/>
            </a:prstGeom>
            <a:noFill/>
            <a:ln w="9525">
              <a:noFill/>
              <a:miter lim="800000"/>
              <a:headEnd/>
              <a:tailEnd/>
            </a:ln>
            <a:effectLst/>
          </p:spPr>
          <p:txBody>
            <a:bodyPr lIns="0" tIns="0" rIns="0" bIns="0">
              <a:spAutoFit/>
            </a:bodyPr>
            <a:lstStyle/>
            <a:p>
              <a:pPr>
                <a:defRPr/>
              </a:pPr>
              <a:r>
                <a:rPr lang="en-GB" sz="1400">
                  <a:latin typeface="Arial" charset="0"/>
                  <a:ea typeface="+mn-ea"/>
                </a:rPr>
                <a:t>Date</a:t>
              </a:r>
            </a:p>
          </p:txBody>
        </p:sp>
        <p:sp>
          <p:nvSpPr>
            <p:cNvPr id="10" name="McK Disclaimer Present E" hidden="1"/>
            <p:cNvSpPr>
              <a:spLocks noChangeArrowheads="1"/>
            </p:cNvSpPr>
            <p:nvPr userDrawn="1">
              <p:custDataLst>
                <p:tags r:id="rId4"/>
              </p:custDataLst>
            </p:nvPr>
          </p:nvSpPr>
          <p:spPr bwMode="auto">
            <a:xfrm>
              <a:off x="1663" y="3845"/>
              <a:ext cx="2895" cy="344"/>
            </a:xfrm>
            <a:prstGeom prst="rect">
              <a:avLst/>
            </a:prstGeom>
            <a:noFill/>
            <a:ln w="9525">
              <a:noFill/>
              <a:miter lim="800000"/>
              <a:headEnd/>
              <a:tailEnd/>
            </a:ln>
            <a:effectLst/>
          </p:spPr>
          <p:txBody>
            <a:bodyPr lIns="0" tIns="0" rIns="0" bIns="0" anchor="b">
              <a:spAutoFit/>
            </a:bodyPr>
            <a:lstStyle/>
            <a:p>
              <a:pPr defTabSz="804863" eaLnBrk="0" hangingPunct="0">
                <a:defRPr/>
              </a:pPr>
              <a:r>
                <a:rPr lang="en-GB" sz="900">
                  <a:latin typeface="Arial" charset="0"/>
                  <a:ea typeface="ＭＳ Ｐゴシック" pitchFamily="-106" charset="-128"/>
                </a:rPr>
                <a:t>This report is solely for the use of client personnel. No part of it may be circulated, quoted, or reproduced for distribution outside the client organization without prior written approval from McKinsey &amp; Company, Inc. This material was used by McKinsey &amp; Company, Inc. during an oral presentation; it is not a complete record of the discussion.</a:t>
              </a:r>
            </a:p>
          </p:txBody>
        </p:sp>
        <p:sp>
          <p:nvSpPr>
            <p:cNvPr id="11" name="McK Disclaimer Present F" hidden="1"/>
            <p:cNvSpPr>
              <a:spLocks noChangeArrowheads="1"/>
            </p:cNvSpPr>
            <p:nvPr userDrawn="1">
              <p:custDataLst>
                <p:tags r:id="rId5"/>
              </p:custDataLst>
            </p:nvPr>
          </p:nvSpPr>
          <p:spPr bwMode="auto">
            <a:xfrm>
              <a:off x="1663" y="3759"/>
              <a:ext cx="3189" cy="430"/>
            </a:xfrm>
            <a:prstGeom prst="rect">
              <a:avLst/>
            </a:prstGeom>
            <a:noFill/>
            <a:ln w="9525">
              <a:noFill/>
              <a:miter lim="800000"/>
              <a:headEnd/>
              <a:tailEnd/>
            </a:ln>
            <a:effectLst/>
          </p:spPr>
          <p:txBody>
            <a:bodyPr lIns="0" tIns="0" rIns="0" bIns="0" anchor="b">
              <a:spAutoFit/>
            </a:bodyPr>
            <a:lstStyle/>
            <a:p>
              <a:pPr defTabSz="804863" eaLnBrk="0" hangingPunct="0">
                <a:defRPr/>
              </a:pPr>
              <a:r>
                <a:rPr lang="en-GB" sz="900">
                  <a:latin typeface="Arial" charset="0"/>
                  <a:cs typeface="Arial" charset="0"/>
                </a:rPr>
                <a:t>Ce rapport est exclusivement destiné aux collaborateurs du client concerné. Toute distribution, citation ou reproduction – même partielle – pour transmission à des tiers nécessite l'autorisation préalable écrite de McKinsey &amp; Company, Inc. Les textes et graphiques exposés dans le présent document ont été utilisés par McKinsey &amp; Company, Inc. à l'occasion d'une présentation orale et ne constituent pas une documentation exhaustive sur le sujet traité.</a:t>
              </a:r>
            </a:p>
          </p:txBody>
        </p:sp>
        <p:sp>
          <p:nvSpPr>
            <p:cNvPr id="12" name="McK Disclaimer Present D" hidden="1"/>
            <p:cNvSpPr>
              <a:spLocks noChangeArrowheads="1"/>
            </p:cNvSpPr>
            <p:nvPr userDrawn="1">
              <p:custDataLst>
                <p:tags r:id="rId6"/>
              </p:custDataLst>
            </p:nvPr>
          </p:nvSpPr>
          <p:spPr bwMode="auto">
            <a:xfrm>
              <a:off x="1663" y="3759"/>
              <a:ext cx="3321" cy="430"/>
            </a:xfrm>
            <a:prstGeom prst="rect">
              <a:avLst/>
            </a:prstGeom>
            <a:noFill/>
            <a:ln w="9525">
              <a:noFill/>
              <a:miter lim="800000"/>
              <a:headEnd/>
              <a:tailEnd/>
            </a:ln>
            <a:effectLst/>
          </p:spPr>
          <p:txBody>
            <a:bodyPr lIns="0" tIns="0" rIns="0" bIns="0" anchor="b">
              <a:spAutoFit/>
            </a:bodyPr>
            <a:lstStyle/>
            <a:p>
              <a:pPr defTabSz="804863" eaLnBrk="0" hangingPunct="0">
                <a:defRPr/>
              </a:pPr>
              <a:r>
                <a:rPr lang="en-GB" sz="900">
                  <a:latin typeface="Arial" charset="0"/>
                  <a:ea typeface="ＭＳ Ｐゴシック" pitchFamily="-106" charset="-128"/>
                </a:rPr>
                <a:t>Dieser Bericht ist ausschliesslich für Mitarbeiter des Klienten bestimmt. Die Verteilung, Zitierung und Vervielfältigung – auch auszugsweise – zum Zwecke der Weitergabe an Dritte ist nur mit vorheriger schriftlicher Zustimmung von McKinsey &amp; Company, Inc. gestattet. Die hier zusammengefassten Texte und Grafiken wurden von McKinsey &amp; Company, Inc. im Rahmen einer Präsentation eingesetzt; sie stellen keine vollständige Dokumentation der Veranstaltung dar.</a:t>
              </a:r>
            </a:p>
          </p:txBody>
        </p:sp>
        <p:sp>
          <p:nvSpPr>
            <p:cNvPr id="13" name="McK Disclaimer Client E" hidden="1"/>
            <p:cNvSpPr>
              <a:spLocks noChangeArrowheads="1"/>
            </p:cNvSpPr>
            <p:nvPr userDrawn="1">
              <p:custDataLst>
                <p:tags r:id="rId7"/>
              </p:custDataLst>
            </p:nvPr>
          </p:nvSpPr>
          <p:spPr bwMode="auto">
            <a:xfrm>
              <a:off x="1663" y="3931"/>
              <a:ext cx="3165" cy="258"/>
            </a:xfrm>
            <a:prstGeom prst="rect">
              <a:avLst/>
            </a:prstGeom>
            <a:noFill/>
            <a:ln w="9525">
              <a:noFill/>
              <a:miter lim="800000"/>
              <a:headEnd/>
              <a:tailEnd/>
            </a:ln>
            <a:effectLst/>
          </p:spPr>
          <p:txBody>
            <a:bodyPr lIns="0" tIns="0" rIns="0" bIns="0" anchor="b">
              <a:spAutoFit/>
            </a:bodyPr>
            <a:lstStyle/>
            <a:p>
              <a:pPr defTabSz="804863" eaLnBrk="0" hangingPunct="0">
                <a:defRPr/>
              </a:pPr>
              <a:r>
                <a:rPr lang="en-GB" sz="900">
                  <a:latin typeface="Arial" charset="0"/>
                  <a:ea typeface="+mn-ea"/>
                </a:rPr>
                <a:t>This report is solely for the use of client personnel. No part of it may be circulated, quoted, or reproduced for distribution outside the client organization without prior written approval from McKinsey &amp; Company, Inc. </a:t>
              </a:r>
            </a:p>
          </p:txBody>
        </p:sp>
        <p:sp>
          <p:nvSpPr>
            <p:cNvPr id="14" name="McK Disclaimer Client F" hidden="1"/>
            <p:cNvSpPr>
              <a:spLocks noChangeArrowheads="1"/>
            </p:cNvSpPr>
            <p:nvPr userDrawn="1">
              <p:custDataLst>
                <p:tags r:id="rId8"/>
              </p:custDataLst>
            </p:nvPr>
          </p:nvSpPr>
          <p:spPr bwMode="auto">
            <a:xfrm>
              <a:off x="1663" y="3931"/>
              <a:ext cx="3219" cy="258"/>
            </a:xfrm>
            <a:prstGeom prst="rect">
              <a:avLst/>
            </a:prstGeom>
            <a:noFill/>
            <a:ln w="9525">
              <a:noFill/>
              <a:miter lim="800000"/>
              <a:headEnd/>
              <a:tailEnd/>
            </a:ln>
            <a:effectLst/>
          </p:spPr>
          <p:txBody>
            <a:bodyPr lIns="0" tIns="0" rIns="0" bIns="0" anchor="b">
              <a:spAutoFit/>
            </a:bodyPr>
            <a:lstStyle/>
            <a:p>
              <a:pPr defTabSz="804863" eaLnBrk="0" hangingPunct="0">
                <a:defRPr/>
              </a:pPr>
              <a:r>
                <a:rPr lang="en-GB" sz="900">
                  <a:latin typeface="Arial" charset="0"/>
                  <a:cs typeface="Arial" charset="0"/>
                </a:rPr>
                <a:t>Ce rapport est exclusivement destiné aux collaborateurs du client concerné. Toute distribution, citation ou reproduction – même partielle – pour transmission à des tiers nécessite l'autorisation préalable écrite de McKinsey &amp; Company, Inc.</a:t>
              </a:r>
            </a:p>
          </p:txBody>
        </p:sp>
        <p:sp>
          <p:nvSpPr>
            <p:cNvPr id="15" name="McK Disclaimer Client D" hidden="1"/>
            <p:cNvSpPr>
              <a:spLocks noChangeArrowheads="1"/>
            </p:cNvSpPr>
            <p:nvPr userDrawn="1">
              <p:custDataLst>
                <p:tags r:id="rId9"/>
              </p:custDataLst>
            </p:nvPr>
          </p:nvSpPr>
          <p:spPr bwMode="auto">
            <a:xfrm>
              <a:off x="1663" y="3931"/>
              <a:ext cx="3321" cy="258"/>
            </a:xfrm>
            <a:prstGeom prst="rect">
              <a:avLst/>
            </a:prstGeom>
            <a:noFill/>
            <a:ln w="9525">
              <a:noFill/>
              <a:miter lim="800000"/>
              <a:headEnd/>
              <a:tailEnd/>
            </a:ln>
            <a:effectLst/>
          </p:spPr>
          <p:txBody>
            <a:bodyPr lIns="0" tIns="0" rIns="0" bIns="0" anchor="b">
              <a:spAutoFit/>
            </a:bodyPr>
            <a:lstStyle/>
            <a:p>
              <a:pPr defTabSz="804863" eaLnBrk="0" hangingPunct="0">
                <a:defRPr/>
              </a:pPr>
              <a:r>
                <a:rPr lang="en-GB" sz="900">
                  <a:latin typeface="Arial" charset="0"/>
                  <a:ea typeface="ＭＳ Ｐゴシック" pitchFamily="-106" charset="-128"/>
                </a:rPr>
                <a:t>Dieser Bericht ist ausschliesslich für Mitarbeiter des Klienten bestimmt. Die Verteilung, Zitierung und Vervielfältigung – auch auszugsweise – zum Zwecke der Weitergabe an Dritte ist nur mit vorheriger schriftlicher Zustimmung von McKinsey &amp; Company, Inc. gestattet.</a:t>
              </a:r>
            </a:p>
          </p:txBody>
        </p:sp>
        <p:sp>
          <p:nvSpPr>
            <p:cNvPr id="16" name="McK Disclaimer Internal" hidden="1"/>
            <p:cNvSpPr>
              <a:spLocks noChangeArrowheads="1"/>
            </p:cNvSpPr>
            <p:nvPr userDrawn="1">
              <p:custDataLst>
                <p:tags r:id="rId10"/>
              </p:custDataLst>
            </p:nvPr>
          </p:nvSpPr>
          <p:spPr bwMode="auto">
            <a:xfrm>
              <a:off x="1663" y="3759"/>
              <a:ext cx="3189" cy="430"/>
            </a:xfrm>
            <a:prstGeom prst="rect">
              <a:avLst/>
            </a:prstGeom>
            <a:noFill/>
            <a:ln w="9525">
              <a:noFill/>
              <a:miter lim="800000"/>
              <a:headEnd/>
              <a:tailEnd/>
            </a:ln>
            <a:effectLst/>
          </p:spPr>
          <p:txBody>
            <a:bodyPr lIns="0" tIns="0" rIns="0" bIns="0" anchor="b">
              <a:spAutoFit/>
            </a:bodyPr>
            <a:lstStyle/>
            <a:p>
              <a:pPr defTabSz="804863" eaLnBrk="0" hangingPunct="0">
                <a:defRPr/>
              </a:pPr>
              <a:r>
                <a:rPr lang="en-GB" sz="900">
                  <a:latin typeface="Arial" charset="0"/>
                  <a:ea typeface="ＭＳ Ｐゴシック" pitchFamily="-106" charset="-128"/>
                </a:rPr>
                <a:t>This report contains information that is confidential and proprietary to McKinsey &amp; Company, Inc. and is solely for the use of McKinsey &amp; Company, Inc. personnel. No part of it may be used, circulated, quoted, or reproduced for distribution outside McKinsey &amp; Company, Inc. If you are not the intended recipient of this report, you are hereby notified that the use, circulation, quoting, or reproducing of this report is strictly prohibited and may be unlawful.</a:t>
              </a:r>
            </a:p>
          </p:txBody>
        </p:sp>
      </p:grpSp>
      <p:pic>
        <p:nvPicPr>
          <p:cNvPr id="17" name="Picture 1086" descr="MPj04004010000[1]"/>
          <p:cNvPicPr>
            <a:picLocks noChangeAspect="1" noChangeArrowheads="1"/>
          </p:cNvPicPr>
          <p:nvPr userDrawn="1"/>
        </p:nvPicPr>
        <p:blipFill>
          <a:blip r:embed="rId14" cstate="print"/>
          <a:srcRect l="11778" r="42192" b="48752"/>
          <a:stretch>
            <a:fillRect/>
          </a:stretch>
        </p:blipFill>
        <p:spPr bwMode="auto">
          <a:xfrm>
            <a:off x="0" y="1784350"/>
            <a:ext cx="2133600" cy="1582738"/>
          </a:xfrm>
          <a:prstGeom prst="rect">
            <a:avLst/>
          </a:prstGeom>
          <a:noFill/>
          <a:ln w="9525">
            <a:noFill/>
            <a:miter lim="800000"/>
            <a:headEnd/>
            <a:tailEnd/>
          </a:ln>
        </p:spPr>
      </p:pic>
      <p:pic>
        <p:nvPicPr>
          <p:cNvPr id="18" name="Picture 1080" descr="j0144470"/>
          <p:cNvPicPr preferRelativeResize="0">
            <a:picLocks noChangeArrowheads="1"/>
          </p:cNvPicPr>
          <p:nvPr userDrawn="1">
            <p:custDataLst>
              <p:tags r:id="rId3"/>
            </p:custDataLst>
          </p:nvPr>
        </p:nvPicPr>
        <p:blipFill>
          <a:blip r:embed="rId15" cstate="print"/>
          <a:srcRect l="-261" r="10719"/>
          <a:stretch>
            <a:fillRect/>
          </a:stretch>
        </p:blipFill>
        <p:spPr bwMode="auto">
          <a:xfrm>
            <a:off x="-4763" y="5145088"/>
            <a:ext cx="2139951" cy="1587500"/>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701925"/>
            <a:ext cx="5027612" cy="914400"/>
          </a:xfrm>
        </p:spPr>
        <p:txBody>
          <a:bodyPr/>
          <a:lstStyle>
            <a:lvl1pPr>
              <a:defRPr sz="3000"/>
            </a:lvl1pPr>
          </a:lstStyle>
          <a:p>
            <a:r>
              <a:rPr lang="en-GB"/>
              <a:t>Click to edit Master title style</a:t>
            </a:r>
          </a:p>
        </p:txBody>
      </p:sp>
      <p:sp>
        <p:nvSpPr>
          <p:cNvPr id="13315" name="Rectangle 1027"/>
          <p:cNvSpPr>
            <a:spLocks noGrp="1" noChangeArrowheads="1"/>
          </p:cNvSpPr>
          <p:nvPr>
            <p:ph type="subTitle" idx="1"/>
          </p:nvPr>
        </p:nvSpPr>
        <p:spPr>
          <a:xfrm>
            <a:off x="2640013" y="4135438"/>
            <a:ext cx="5027612" cy="212725"/>
          </a:xfrm>
        </p:spPr>
        <p:txBody>
          <a:bodyPr/>
          <a:lstStyle>
            <a:lvl1pPr>
              <a:defRPr sz="1400"/>
            </a:lvl1pPr>
          </a:lstStyle>
          <a:p>
            <a:r>
              <a:rPr lang="en-GB"/>
              <a:t>Click to edit Master subtitle style</a:t>
            </a:r>
          </a:p>
        </p:txBody>
      </p:sp>
    </p:spTree>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D31F2F4F-CE54-4DC3-B03D-FFEEBE8FCDB6}" type="slidenum">
              <a:rPr lang="en-GB"/>
              <a:pPr>
                <a:defRPr/>
              </a:pPr>
              <a:t>‹#›</a:t>
            </a:fld>
            <a:endParaRPr lang="en-GB"/>
          </a:p>
        </p:txBody>
      </p:sp>
    </p:spTree>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86538" y="230188"/>
            <a:ext cx="2154237" cy="226536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19063" y="230188"/>
            <a:ext cx="6315075" cy="226536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9F13EE21-A84D-453A-8320-3864B2EA8143}" type="slidenum">
              <a:rPr lang="en-GB"/>
              <a:pPr>
                <a:defRPr/>
              </a:pPr>
              <a:t>‹#›</a:t>
            </a:fld>
            <a:endParaRPr lang="en-GB"/>
          </a:p>
        </p:txBody>
      </p:sp>
    </p:spTree>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6"/>
          <p:cNvSpPr>
            <a:spLocks noGrp="1" noChangeArrowheads="1"/>
          </p:cNvSpPr>
          <p:nvPr>
            <p:ph type="sldNum" sz="quarter" idx="10"/>
          </p:nvPr>
        </p:nvSpPr>
        <p:spPr>
          <a:ln/>
        </p:spPr>
        <p:txBody>
          <a:bodyPr/>
          <a:lstStyle>
            <a:lvl1pPr>
              <a:defRPr/>
            </a:lvl1pPr>
          </a:lstStyle>
          <a:p>
            <a:pPr>
              <a:defRPr/>
            </a:pPr>
            <a:fld id="{FC56D7CD-E235-4870-AE55-3445A16CBC70}" type="slidenum">
              <a:rPr lang="en-GB"/>
              <a:pPr>
                <a:defRPr/>
              </a:pPr>
              <a:t>‹#›</a:t>
            </a:fld>
            <a:endParaRPr lang="en-GB"/>
          </a:p>
        </p:txBody>
      </p:sp>
    </p:spTree>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8025" y="4319588"/>
            <a:ext cx="7616825" cy="1335087"/>
          </a:xfrm>
        </p:spPr>
        <p:txBody>
          <a:bodyPr/>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08025" y="2849563"/>
            <a:ext cx="7616825" cy="147002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B86DA34D-899D-4106-AE52-73992D718B2B}" type="slidenum">
              <a:rPr lang="en-GB"/>
              <a:pPr>
                <a:defRPr/>
              </a:pPr>
              <a:t>‹#›</a:t>
            </a:fld>
            <a:endParaRPr lang="en-GB"/>
          </a:p>
        </p:txBody>
      </p:sp>
    </p:spTree>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122238" y="1273175"/>
            <a:ext cx="4232275"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06913" y="1273175"/>
            <a:ext cx="4233862" cy="1222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6"/>
          <p:cNvSpPr>
            <a:spLocks noGrp="1" noChangeArrowheads="1"/>
          </p:cNvSpPr>
          <p:nvPr>
            <p:ph type="sldNum" sz="quarter" idx="10"/>
          </p:nvPr>
        </p:nvSpPr>
        <p:spPr>
          <a:ln/>
        </p:spPr>
        <p:txBody>
          <a:bodyPr/>
          <a:lstStyle>
            <a:lvl1pPr>
              <a:defRPr/>
            </a:lvl1pPr>
          </a:lstStyle>
          <a:p>
            <a:pPr>
              <a:defRPr/>
            </a:pPr>
            <a:fld id="{95E421B9-9BCD-45B4-B57E-22827396064E}" type="slidenum">
              <a:rPr lang="en-GB"/>
              <a:pPr>
                <a:defRPr/>
              </a:pPr>
              <a:t>‹#›</a:t>
            </a:fld>
            <a:endParaRPr lang="en-GB"/>
          </a:p>
        </p:txBody>
      </p:sp>
    </p:spTree>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9875"/>
            <a:ext cx="8066088" cy="1119188"/>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47675" y="1504950"/>
            <a:ext cx="3959225"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47675" y="2132013"/>
            <a:ext cx="3959225"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52950" y="1504950"/>
            <a:ext cx="3960813" cy="6270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552950" y="2132013"/>
            <a:ext cx="3960813" cy="387191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a:spLocks noGrp="1" noChangeArrowheads="1"/>
          </p:cNvSpPr>
          <p:nvPr>
            <p:ph type="sldNum" sz="quarter" idx="10"/>
          </p:nvPr>
        </p:nvSpPr>
        <p:spPr>
          <a:ln/>
        </p:spPr>
        <p:txBody>
          <a:bodyPr/>
          <a:lstStyle>
            <a:lvl1pPr>
              <a:defRPr/>
            </a:lvl1pPr>
          </a:lstStyle>
          <a:p>
            <a:pPr>
              <a:defRPr/>
            </a:pPr>
            <a:fld id="{64564255-6502-40B3-9CF3-8B17620C75DC}" type="slidenum">
              <a:rPr lang="en-GB"/>
              <a:pPr>
                <a:defRPr/>
              </a:pPr>
              <a:t>‹#›</a:t>
            </a:fld>
            <a:endParaRPr lang="en-GB"/>
          </a:p>
        </p:txBody>
      </p:sp>
    </p:spTree>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6"/>
          <p:cNvSpPr>
            <a:spLocks noGrp="1" noChangeArrowheads="1"/>
          </p:cNvSpPr>
          <p:nvPr>
            <p:ph type="sldNum" sz="quarter" idx="10"/>
          </p:nvPr>
        </p:nvSpPr>
        <p:spPr>
          <a:ln/>
        </p:spPr>
        <p:txBody>
          <a:bodyPr/>
          <a:lstStyle>
            <a:lvl1pPr>
              <a:defRPr/>
            </a:lvl1pPr>
          </a:lstStyle>
          <a:p>
            <a:pPr>
              <a:defRPr/>
            </a:pPr>
            <a:fld id="{609EBBBD-3132-4573-B38F-7EED3DDE2618}" type="slidenum">
              <a:rPr lang="en-GB"/>
              <a:pPr>
                <a:defRPr/>
              </a:pPr>
              <a:t>‹#›</a:t>
            </a:fld>
            <a:endParaRPr lang="en-GB"/>
          </a:p>
        </p:txBody>
      </p:sp>
    </p:spTree>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EAF33556-9716-44BC-881E-0FB2519F265F}" type="slidenum">
              <a:rPr lang="en-GB"/>
              <a:pPr>
                <a:defRPr/>
              </a:pPr>
              <a:t>‹#›</a:t>
            </a:fld>
            <a:endParaRPr lang="en-GB"/>
          </a:p>
        </p:txBody>
      </p:sp>
    </p:spTree>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7675" y="268288"/>
            <a:ext cx="2947988" cy="1138237"/>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03613" y="268288"/>
            <a:ext cx="5010150" cy="573563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7675" y="1406525"/>
            <a:ext cx="2947988" cy="45974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F9ECD240-9422-415F-ABCC-34C931FE7F6C}" type="slidenum">
              <a:rPr lang="en-GB"/>
              <a:pPr>
                <a:defRPr/>
              </a:pPr>
              <a:t>‹#›</a:t>
            </a:fld>
            <a:endParaRPr lang="en-GB"/>
          </a:p>
        </p:txBody>
      </p:sp>
    </p:spTree>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5775" y="4705350"/>
            <a:ext cx="5376863" cy="55562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55775" y="600075"/>
            <a:ext cx="5376863" cy="40338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55775" y="5260975"/>
            <a:ext cx="5376863" cy="788988"/>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8D939C56-BA7C-4FB5-86ED-91BFE1C3F21D}" type="slidenum">
              <a:rPr lang="en-GB"/>
              <a:pPr>
                <a:defRPr/>
              </a:pPr>
              <a:t>‹#›</a:t>
            </a:fld>
            <a:endParaRPr lang="en-GB"/>
          </a:p>
        </p:txBody>
      </p:sp>
    </p:spTree>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5122" name="McK Slide Elements"/>
          <p:cNvGrpSpPr>
            <a:grpSpLocks/>
          </p:cNvGrpSpPr>
          <p:nvPr/>
        </p:nvGrpSpPr>
        <p:grpSpPr bwMode="auto">
          <a:xfrm>
            <a:off x="122238" y="531813"/>
            <a:ext cx="8618537" cy="6162675"/>
            <a:chOff x="77" y="335"/>
            <a:chExt cx="5429" cy="3882"/>
          </a:xfrm>
        </p:grpSpPr>
        <p:sp>
          <p:nvSpPr>
            <p:cNvPr id="1032" name="McK Measure" hidden="1"/>
            <p:cNvSpPr txBox="1">
              <a:spLocks noChangeArrowheads="1"/>
            </p:cNvSpPr>
            <p:nvPr userDrawn="1"/>
          </p:nvSpPr>
          <p:spPr bwMode="auto">
            <a:xfrm>
              <a:off x="77" y="335"/>
              <a:ext cx="5429" cy="154"/>
            </a:xfrm>
            <a:prstGeom prst="rect">
              <a:avLst/>
            </a:prstGeom>
            <a:noFill/>
            <a:ln w="9525">
              <a:noFill/>
              <a:miter lim="800000"/>
              <a:headEnd/>
              <a:tailEnd/>
            </a:ln>
            <a:effectLst/>
          </p:spPr>
          <p:txBody>
            <a:bodyPr lIns="0" tIns="0" rIns="0" bIns="0">
              <a:spAutoFit/>
            </a:bodyPr>
            <a:lstStyle/>
            <a:p>
              <a:pPr defTabSz="895350">
                <a:defRPr/>
              </a:pPr>
              <a:r>
                <a:rPr lang="en-GB">
                  <a:latin typeface="Arial" charset="0"/>
                  <a:ea typeface="+mn-ea"/>
                </a:rPr>
                <a:t>Unit of measure</a:t>
              </a:r>
            </a:p>
          </p:txBody>
        </p:sp>
        <p:sp>
          <p:nvSpPr>
            <p:cNvPr id="1055" name="McK Footnote" hidden="1"/>
            <p:cNvSpPr>
              <a:spLocks noChangeArrowheads="1"/>
            </p:cNvSpPr>
            <p:nvPr userDrawn="1">
              <p:custDataLst>
                <p:tags r:id="rId13"/>
              </p:custDataLst>
            </p:nvPr>
          </p:nvSpPr>
          <p:spPr bwMode="auto">
            <a:xfrm>
              <a:off x="79" y="3964"/>
              <a:ext cx="5160" cy="253"/>
            </a:xfrm>
            <a:prstGeom prst="rect">
              <a:avLst/>
            </a:prstGeom>
            <a:noFill/>
            <a:ln w="9525">
              <a:noFill/>
              <a:miter lim="800000"/>
              <a:headEnd/>
              <a:tailEnd/>
            </a:ln>
            <a:effectLst/>
          </p:spPr>
          <p:txBody>
            <a:bodyPr lIns="0" tIns="0" rIns="0" bIns="0" anchor="b">
              <a:spAutoFit/>
            </a:bodyPr>
            <a:lstStyle/>
            <a:p>
              <a:pPr marL="574675" indent="-574675" eaLnBrk="0" hangingPunct="0">
                <a:tabLst>
                  <a:tab pos="531813" algn="r"/>
                </a:tabLst>
                <a:defRPr/>
              </a:pPr>
              <a:r>
                <a:rPr lang="en-GB" sz="1200">
                  <a:latin typeface="Arial" charset="0"/>
                  <a:ea typeface="+mn-ea"/>
                </a:rPr>
                <a:t>	*	Footnote</a:t>
              </a:r>
            </a:p>
            <a:p>
              <a:pPr marL="574675" indent="-574675" eaLnBrk="0" hangingPunct="0">
                <a:spcBef>
                  <a:spcPct val="20000"/>
                </a:spcBef>
                <a:tabLst>
                  <a:tab pos="531813" algn="r"/>
                </a:tabLst>
                <a:defRPr/>
              </a:pPr>
              <a:r>
                <a:rPr lang="en-GB" sz="1200">
                  <a:latin typeface="Arial" charset="0"/>
                  <a:ea typeface="+mn-ea"/>
                </a:rPr>
                <a:t>	Source:	Source</a:t>
              </a:r>
            </a:p>
          </p:txBody>
        </p:sp>
      </p:grpSp>
      <p:sp>
        <p:nvSpPr>
          <p:cNvPr id="1030" name="Rectangle 6"/>
          <p:cNvSpPr>
            <a:spLocks noGrp="1" noChangeArrowheads="1"/>
          </p:cNvSpPr>
          <p:nvPr>
            <p:ph type="sldNum" sz="quarter" idx="4"/>
          </p:nvPr>
        </p:nvSpPr>
        <p:spPr bwMode="auto">
          <a:xfrm>
            <a:off x="6870700" y="6511925"/>
            <a:ext cx="1866900" cy="18256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latin typeface="Arial" charset="0"/>
                <a:ea typeface="ＭＳ Ｐゴシック" pitchFamily="-106" charset="-128"/>
                <a:cs typeface="+mn-cs"/>
              </a:defRPr>
            </a:lvl1pPr>
          </a:lstStyle>
          <a:p>
            <a:pPr>
              <a:defRPr/>
            </a:pPr>
            <a:fld id="{55E0588E-7106-4AFB-BC22-27CE902B2899}" type="slidenum">
              <a:rPr lang="en-GB"/>
              <a:pPr>
                <a:defRPr/>
              </a:pPr>
              <a:t>‹#›</a:t>
            </a:fld>
            <a:endParaRPr lang="en-GB"/>
          </a:p>
        </p:txBody>
      </p:sp>
      <p:sp>
        <p:nvSpPr>
          <p:cNvPr id="5124" name="Rectangle 2"/>
          <p:cNvSpPr>
            <a:spLocks noGrp="1" noChangeArrowheads="1"/>
          </p:cNvSpPr>
          <p:nvPr>
            <p:ph type="title"/>
          </p:nvPr>
        </p:nvSpPr>
        <p:spPr bwMode="auto">
          <a:xfrm>
            <a:off x="119063" y="230188"/>
            <a:ext cx="7921625" cy="2889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ITLE STYLE</a:t>
            </a:r>
          </a:p>
        </p:txBody>
      </p:sp>
      <p:sp>
        <p:nvSpPr>
          <p:cNvPr id="5125" name="Rectangle 3"/>
          <p:cNvSpPr>
            <a:spLocks noGrp="1" noChangeArrowheads="1"/>
          </p:cNvSpPr>
          <p:nvPr>
            <p:ph type="body" idx="1"/>
          </p:nvPr>
        </p:nvSpPr>
        <p:spPr bwMode="auto">
          <a:xfrm>
            <a:off x="122238" y="1273175"/>
            <a:ext cx="8618537" cy="122237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grpSp>
        <p:nvGrpSpPr>
          <p:cNvPr id="5126" name="McK Legend" hidden="1"/>
          <p:cNvGrpSpPr>
            <a:grpSpLocks/>
          </p:cNvGrpSpPr>
          <p:nvPr/>
        </p:nvGrpSpPr>
        <p:grpSpPr bwMode="auto">
          <a:xfrm>
            <a:off x="7626350" y="590550"/>
            <a:ext cx="1370013" cy="504825"/>
            <a:chOff x="4804" y="490"/>
            <a:chExt cx="863" cy="318"/>
          </a:xfrm>
        </p:grpSpPr>
        <p:sp>
          <p:nvSpPr>
            <p:cNvPr id="1074" name="LegendRectangle1" hidden="1"/>
            <p:cNvSpPr>
              <a:spLocks noChangeArrowheads="1"/>
            </p:cNvSpPr>
            <p:nvPr/>
          </p:nvSpPr>
          <p:spPr bwMode="auto">
            <a:xfrm>
              <a:off x="4804" y="490"/>
              <a:ext cx="135" cy="101"/>
            </a:xfrm>
            <a:prstGeom prst="rect">
              <a:avLst/>
            </a:prstGeom>
            <a:solidFill>
              <a:schemeClr val="accent1"/>
            </a:solidFill>
            <a:ln w="9525">
              <a:solidFill>
                <a:schemeClr val="tx1"/>
              </a:solidFill>
              <a:miter lim="800000"/>
              <a:headEnd/>
              <a:tailEnd/>
            </a:ln>
            <a:effectLst/>
          </p:spPr>
          <p:txBody>
            <a:bodyPr lIns="0" tIns="0" rIns="0" bIns="0"/>
            <a:lstStyle/>
            <a:p>
              <a:pPr>
                <a:defRPr/>
              </a:pPr>
              <a:endParaRPr lang="en-GB">
                <a:latin typeface="Arial" charset="0"/>
                <a:ea typeface="+mn-ea"/>
              </a:endParaRPr>
            </a:p>
          </p:txBody>
        </p:sp>
        <p:sp>
          <p:nvSpPr>
            <p:cNvPr id="1075" name="LegendRectangle2" hidden="1"/>
            <p:cNvSpPr>
              <a:spLocks noChangeArrowheads="1"/>
            </p:cNvSpPr>
            <p:nvPr/>
          </p:nvSpPr>
          <p:spPr bwMode="auto">
            <a:xfrm>
              <a:off x="4804" y="661"/>
              <a:ext cx="135" cy="101"/>
            </a:xfrm>
            <a:prstGeom prst="rect">
              <a:avLst/>
            </a:prstGeom>
            <a:solidFill>
              <a:schemeClr val="accent2"/>
            </a:solidFill>
            <a:ln w="9525">
              <a:solidFill>
                <a:schemeClr val="tx1"/>
              </a:solidFill>
              <a:miter lim="800000"/>
              <a:headEnd/>
              <a:tailEnd/>
            </a:ln>
            <a:effectLst/>
          </p:spPr>
          <p:txBody>
            <a:bodyPr lIns="0" tIns="0" rIns="0" bIns="0"/>
            <a:lstStyle/>
            <a:p>
              <a:pPr>
                <a:defRPr/>
              </a:pPr>
              <a:endParaRPr lang="en-GB">
                <a:latin typeface="Arial" charset="0"/>
                <a:ea typeface="+mn-ea"/>
              </a:endParaRPr>
            </a:p>
          </p:txBody>
        </p:sp>
        <p:sp>
          <p:nvSpPr>
            <p:cNvPr id="1076" name="Legend1" hidden="1"/>
            <p:cNvSpPr>
              <a:spLocks noChangeArrowheads="1"/>
            </p:cNvSpPr>
            <p:nvPr/>
          </p:nvSpPr>
          <p:spPr bwMode="auto">
            <a:xfrm>
              <a:off x="5006" y="490"/>
              <a:ext cx="426" cy="154"/>
            </a:xfrm>
            <a:prstGeom prst="rect">
              <a:avLst/>
            </a:prstGeom>
            <a:noFill/>
            <a:ln w="9525">
              <a:noFill/>
              <a:miter lim="800000"/>
              <a:headEnd/>
              <a:tailEnd/>
            </a:ln>
            <a:effectLst/>
          </p:spPr>
          <p:txBody>
            <a:bodyPr wrap="none" lIns="0" tIns="0" rIns="0" bIns="0">
              <a:spAutoFit/>
            </a:bodyPr>
            <a:lstStyle/>
            <a:p>
              <a:pPr defTabSz="895350">
                <a:buSzPct val="120000"/>
                <a:defRPr/>
              </a:pPr>
              <a:r>
                <a:rPr lang="en-GB">
                  <a:latin typeface="Arial" charset="0"/>
                  <a:ea typeface="+mn-ea"/>
                </a:rPr>
                <a:t>Legend</a:t>
              </a:r>
            </a:p>
          </p:txBody>
        </p:sp>
        <p:sp>
          <p:nvSpPr>
            <p:cNvPr id="1077" name="Legend2" hidden="1"/>
            <p:cNvSpPr>
              <a:spLocks noChangeArrowheads="1"/>
            </p:cNvSpPr>
            <p:nvPr/>
          </p:nvSpPr>
          <p:spPr bwMode="auto">
            <a:xfrm>
              <a:off x="5006" y="654"/>
              <a:ext cx="661" cy="154"/>
            </a:xfrm>
            <a:prstGeom prst="rect">
              <a:avLst/>
            </a:prstGeom>
            <a:noFill/>
            <a:ln w="9525">
              <a:noFill/>
              <a:miter lim="800000"/>
              <a:headEnd/>
              <a:tailEnd/>
            </a:ln>
            <a:effectLst/>
          </p:spPr>
          <p:txBody>
            <a:bodyPr wrap="none" lIns="0" tIns="0" rIns="0" bIns="0">
              <a:spAutoFit/>
            </a:bodyPr>
            <a:lstStyle/>
            <a:p>
              <a:pPr defTabSz="895350">
                <a:buSzPct val="120000"/>
                <a:defRPr/>
              </a:pPr>
              <a:r>
                <a:rPr lang="en-GB">
                  <a:latin typeface="Arial" charset="0"/>
                  <a:ea typeface="+mn-ea"/>
                </a:rPr>
                <a:t>Legend two</a:t>
              </a:r>
            </a:p>
          </p:txBody>
        </p:sp>
      </p:grpSp>
      <p:pic>
        <p:nvPicPr>
          <p:cNvPr id="5127" name="Picture 233" descr="38E350B7"/>
          <p:cNvPicPr>
            <a:picLocks noChangeAspect="1" noChangeArrowheads="1"/>
          </p:cNvPicPr>
          <p:nvPr/>
        </p:nvPicPr>
        <p:blipFill>
          <a:blip r:embed="rId14" cstate="print"/>
          <a:srcRect l="77206" t="2959" r="8124" b="86629"/>
          <a:stretch>
            <a:fillRect/>
          </a:stretch>
        </p:blipFill>
        <p:spPr bwMode="auto">
          <a:xfrm>
            <a:off x="7985125" y="31750"/>
            <a:ext cx="909638" cy="92551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00"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Lst>
  <p:transition spd="med">
    <p:wipe dir="r"/>
  </p:transition>
  <p:hf hdr="0" dt="0"/>
  <p:txStyles>
    <p:titleStyle>
      <a:lvl1pPr algn="l" defTabSz="895350" rtl="0" eaLnBrk="0" fontAlgn="base" hangingPunct="0">
        <a:spcBef>
          <a:spcPct val="0"/>
        </a:spcBef>
        <a:spcAft>
          <a:spcPct val="0"/>
        </a:spcAft>
        <a:defRPr sz="1900" b="1">
          <a:solidFill>
            <a:schemeClr val="tx2"/>
          </a:solidFill>
          <a:latin typeface="+mj-lt"/>
          <a:ea typeface="ＭＳ Ｐゴシック" pitchFamily="-106" charset="-128"/>
          <a:cs typeface="ＭＳ Ｐゴシック"/>
        </a:defRPr>
      </a:lvl1pPr>
      <a:lvl2pPr algn="l" defTabSz="895350" rtl="0" eaLnBrk="0" fontAlgn="base" hangingPunct="0">
        <a:spcBef>
          <a:spcPct val="0"/>
        </a:spcBef>
        <a:spcAft>
          <a:spcPct val="0"/>
        </a:spcAft>
        <a:defRPr sz="1900" b="1">
          <a:solidFill>
            <a:schemeClr val="tx2"/>
          </a:solidFill>
          <a:latin typeface="Arial" charset="0"/>
          <a:ea typeface="ＭＳ Ｐゴシック" pitchFamily="-106" charset="-128"/>
          <a:cs typeface="ＭＳ Ｐゴシック"/>
        </a:defRPr>
      </a:lvl2pPr>
      <a:lvl3pPr algn="l" defTabSz="895350" rtl="0" eaLnBrk="0" fontAlgn="base" hangingPunct="0">
        <a:spcBef>
          <a:spcPct val="0"/>
        </a:spcBef>
        <a:spcAft>
          <a:spcPct val="0"/>
        </a:spcAft>
        <a:defRPr sz="1900" b="1">
          <a:solidFill>
            <a:schemeClr val="tx2"/>
          </a:solidFill>
          <a:latin typeface="Arial" charset="0"/>
          <a:ea typeface="ＭＳ Ｐゴシック" pitchFamily="-106" charset="-128"/>
          <a:cs typeface="ＭＳ Ｐゴシック"/>
        </a:defRPr>
      </a:lvl3pPr>
      <a:lvl4pPr algn="l" defTabSz="895350" rtl="0" eaLnBrk="0" fontAlgn="base" hangingPunct="0">
        <a:spcBef>
          <a:spcPct val="0"/>
        </a:spcBef>
        <a:spcAft>
          <a:spcPct val="0"/>
        </a:spcAft>
        <a:defRPr sz="1900" b="1">
          <a:solidFill>
            <a:schemeClr val="tx2"/>
          </a:solidFill>
          <a:latin typeface="Arial" charset="0"/>
          <a:ea typeface="ＭＳ Ｐゴシック" pitchFamily="-106" charset="-128"/>
          <a:cs typeface="ＭＳ Ｐゴシック"/>
        </a:defRPr>
      </a:lvl4pPr>
      <a:lvl5pPr algn="l" defTabSz="895350" rtl="0" eaLnBrk="0" fontAlgn="base" hangingPunct="0">
        <a:spcBef>
          <a:spcPct val="0"/>
        </a:spcBef>
        <a:spcAft>
          <a:spcPct val="0"/>
        </a:spcAft>
        <a:defRPr sz="1900" b="1">
          <a:solidFill>
            <a:schemeClr val="tx2"/>
          </a:solidFill>
          <a:latin typeface="Arial" charset="0"/>
          <a:ea typeface="ＭＳ Ｐゴシック" pitchFamily="-106" charset="-128"/>
          <a:cs typeface="ＭＳ Ｐゴシック"/>
        </a:defRPr>
      </a:lvl5pPr>
      <a:lvl6pPr marL="457200" algn="l" defTabSz="895350" rtl="0" fontAlgn="base">
        <a:spcBef>
          <a:spcPct val="0"/>
        </a:spcBef>
        <a:spcAft>
          <a:spcPct val="0"/>
        </a:spcAft>
        <a:defRPr sz="1900" b="1">
          <a:solidFill>
            <a:schemeClr val="tx2"/>
          </a:solidFill>
          <a:latin typeface="Arial" charset="0"/>
        </a:defRPr>
      </a:lvl6pPr>
      <a:lvl7pPr marL="914400" algn="l" defTabSz="895350" rtl="0" fontAlgn="base">
        <a:spcBef>
          <a:spcPct val="0"/>
        </a:spcBef>
        <a:spcAft>
          <a:spcPct val="0"/>
        </a:spcAft>
        <a:defRPr sz="1900" b="1">
          <a:solidFill>
            <a:schemeClr val="tx2"/>
          </a:solidFill>
          <a:latin typeface="Arial" charset="0"/>
        </a:defRPr>
      </a:lvl7pPr>
      <a:lvl8pPr marL="1371600" algn="l" defTabSz="895350" rtl="0" fontAlgn="base">
        <a:spcBef>
          <a:spcPct val="0"/>
        </a:spcBef>
        <a:spcAft>
          <a:spcPct val="0"/>
        </a:spcAft>
        <a:defRPr sz="1900" b="1">
          <a:solidFill>
            <a:schemeClr val="tx2"/>
          </a:solidFill>
          <a:latin typeface="Arial" charset="0"/>
        </a:defRPr>
      </a:lvl8pPr>
      <a:lvl9pPr marL="1828800" algn="l" defTabSz="895350" rtl="0" fontAlgn="base">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SzPct val="120000"/>
        <a:buChar char="•"/>
        <a:defRPr sz="1600">
          <a:solidFill>
            <a:schemeClr val="tx1"/>
          </a:solidFill>
          <a:latin typeface="+mn-lt"/>
          <a:ea typeface="ＭＳ Ｐゴシック" pitchFamily="-106" charset="-128"/>
          <a:cs typeface="ＭＳ Ｐゴシック"/>
        </a:defRPr>
      </a:lvl1pPr>
      <a:lvl2pPr marL="144463" indent="-142875" algn="l" defTabSz="895350" rtl="0" eaLnBrk="0" fontAlgn="base" hangingPunct="0">
        <a:spcBef>
          <a:spcPct val="0"/>
        </a:spcBef>
        <a:spcAft>
          <a:spcPct val="0"/>
        </a:spcAft>
        <a:buSzPct val="120000"/>
        <a:buChar char="•"/>
        <a:defRPr sz="1600">
          <a:solidFill>
            <a:schemeClr val="tx1"/>
          </a:solidFill>
          <a:latin typeface="+mn-lt"/>
          <a:ea typeface="ＭＳ Ｐゴシック" pitchFamily="-106" charset="-128"/>
          <a:cs typeface="ＭＳ Ｐゴシック"/>
        </a:defRPr>
      </a:lvl2pPr>
      <a:lvl3pPr marL="295275" indent="-149225" algn="l" defTabSz="895350" rtl="0" eaLnBrk="0" fontAlgn="base" hangingPunct="0">
        <a:spcBef>
          <a:spcPct val="0"/>
        </a:spcBef>
        <a:spcAft>
          <a:spcPct val="0"/>
        </a:spcAft>
        <a:buChar char="–"/>
        <a:defRPr sz="1600">
          <a:solidFill>
            <a:schemeClr val="tx1"/>
          </a:solidFill>
          <a:latin typeface="+mn-lt"/>
          <a:ea typeface="ＭＳ Ｐゴシック" pitchFamily="-106" charset="-128"/>
          <a:cs typeface="ＭＳ Ｐゴシック"/>
        </a:defRPr>
      </a:lvl3pPr>
      <a:lvl4pPr marL="431800" indent="-134938" algn="l" defTabSz="895350" rtl="0" eaLnBrk="0" fontAlgn="base" hangingPunct="0">
        <a:spcBef>
          <a:spcPct val="0"/>
        </a:spcBef>
        <a:spcAft>
          <a:spcPct val="0"/>
        </a:spcAft>
        <a:buSzPct val="89000"/>
        <a:buChar char="•"/>
        <a:defRPr sz="1600">
          <a:solidFill>
            <a:schemeClr val="tx1"/>
          </a:solidFill>
          <a:latin typeface="+mn-lt"/>
          <a:ea typeface="ＭＳ Ｐゴシック" pitchFamily="-106" charset="-128"/>
          <a:cs typeface="ＭＳ Ｐゴシック"/>
        </a:defRPr>
      </a:lvl4pPr>
      <a:lvl5pPr marL="582613" indent="-149225" algn="l" defTabSz="895350" rtl="0" eaLnBrk="0" fontAlgn="base" hangingPunct="0">
        <a:spcBef>
          <a:spcPct val="0"/>
        </a:spcBef>
        <a:spcAft>
          <a:spcPct val="0"/>
        </a:spcAft>
        <a:buSzPct val="75000"/>
        <a:buChar char="–"/>
        <a:defRPr sz="1600">
          <a:solidFill>
            <a:schemeClr val="tx1"/>
          </a:solidFill>
          <a:latin typeface="+mn-lt"/>
          <a:ea typeface="ＭＳ Ｐゴシック" pitchFamily="-106" charset="-128"/>
          <a:cs typeface="ＭＳ Ｐゴシック"/>
        </a:defRPr>
      </a:lvl5pPr>
      <a:lvl6pPr marL="1039813" indent="-149225" algn="l" defTabSz="895350" rtl="0" fontAlgn="base">
        <a:spcBef>
          <a:spcPct val="0"/>
        </a:spcBef>
        <a:spcAft>
          <a:spcPct val="0"/>
        </a:spcAft>
        <a:buSzPct val="75000"/>
        <a:buChar char="–"/>
        <a:defRPr sz="1600">
          <a:solidFill>
            <a:schemeClr val="tx1"/>
          </a:solidFill>
          <a:latin typeface="+mn-lt"/>
        </a:defRPr>
      </a:lvl6pPr>
      <a:lvl7pPr marL="1497013" indent="-149225" algn="l" defTabSz="895350" rtl="0" fontAlgn="base">
        <a:spcBef>
          <a:spcPct val="0"/>
        </a:spcBef>
        <a:spcAft>
          <a:spcPct val="0"/>
        </a:spcAft>
        <a:buSzPct val="75000"/>
        <a:buChar char="–"/>
        <a:defRPr sz="1600">
          <a:solidFill>
            <a:schemeClr val="tx1"/>
          </a:solidFill>
          <a:latin typeface="+mn-lt"/>
        </a:defRPr>
      </a:lvl7pPr>
      <a:lvl8pPr marL="1954213" indent="-149225" algn="l" defTabSz="895350" rtl="0" fontAlgn="base">
        <a:spcBef>
          <a:spcPct val="0"/>
        </a:spcBef>
        <a:spcAft>
          <a:spcPct val="0"/>
        </a:spcAft>
        <a:buSzPct val="75000"/>
        <a:buChar char="–"/>
        <a:defRPr sz="1600">
          <a:solidFill>
            <a:schemeClr val="tx1"/>
          </a:solidFill>
          <a:latin typeface="+mn-lt"/>
        </a:defRPr>
      </a:lvl8pPr>
      <a:lvl9pPr marL="2411413" indent="-149225" algn="l" defTabSz="895350" rtl="0" fontAlgn="base">
        <a:spcBef>
          <a:spcPct val="0"/>
        </a:spcBef>
        <a:spcAft>
          <a:spcPct val="0"/>
        </a:spcAft>
        <a:buSzPct val="7500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1.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notesSlide" Target="../notesSlides/notesSlide7.xml"/><Relationship Id="rId3" Type="http://schemas.openxmlformats.org/officeDocument/2006/relationships/tags" Target="../tags/tag16.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slideLayout" Target="../slideLayouts/slideLayout6.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1" Type="http://schemas.openxmlformats.org/officeDocument/2006/relationships/vmlDrawing" Target="../drawings/vmlDrawing2.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2" Type="http://schemas.openxmlformats.org/officeDocument/2006/relationships/diagramData" Target="../diagrams/data5.xml"/><Relationship Id="rId1" Type="http://schemas.openxmlformats.org/officeDocument/2006/relationships/slideLayout" Target="../slideLayouts/slideLayout6.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8" Type="http://schemas.openxmlformats.org/officeDocument/2006/relationships/diagramLayout" Target="../diagrams/layout8.xml"/><Relationship Id="rId3" Type="http://schemas.openxmlformats.org/officeDocument/2006/relationships/diagramLayout" Target="../diagrams/layout7.xml"/><Relationship Id="rId7" Type="http://schemas.openxmlformats.org/officeDocument/2006/relationships/diagramData" Target="../diagrams/data8.xml"/><Relationship Id="rId2" Type="http://schemas.openxmlformats.org/officeDocument/2006/relationships/diagramData" Target="../diagrams/data7.xml"/><Relationship Id="rId1" Type="http://schemas.openxmlformats.org/officeDocument/2006/relationships/slideLayout" Target="../slideLayouts/slideLayout6.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0" Type="http://schemas.openxmlformats.org/officeDocument/2006/relationships/diagramColors" Target="../diagrams/colors8.xml"/><Relationship Id="rId4" Type="http://schemas.openxmlformats.org/officeDocument/2006/relationships/diagramQuickStyle" Target="../diagrams/quickStyle7.xml"/><Relationship Id="rId9" Type="http://schemas.openxmlformats.org/officeDocument/2006/relationships/diagramQuickStyle" Target="../diagrams/quickStyle8.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6.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8.xml"/><Relationship Id="rId1" Type="http://schemas.openxmlformats.org/officeDocument/2006/relationships/vmlDrawing" Target="../drawings/vmlDrawing3.vml"/><Relationship Id="rId5" Type="http://schemas.openxmlformats.org/officeDocument/2006/relationships/oleObject" Target="../embeddings/oleObject3.bin"/><Relationship Id="rId4" Type="http://schemas.openxmlformats.org/officeDocument/2006/relationships/notesSlide" Target="../notesSlides/notesSlide8.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6.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39.xml"/></Relationships>
</file>

<file path=ppt/slides/_rels/slide23.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jpeg"/><Relationship Id="rId7" Type="http://schemas.openxmlformats.org/officeDocument/2006/relationships/image" Target="../media/image19.png"/><Relationship Id="rId2" Type="http://schemas.openxmlformats.org/officeDocument/2006/relationships/image" Target="../media/image14.jpeg"/><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23.jpeg"/><Relationship Id="rId5" Type="http://schemas.openxmlformats.org/officeDocument/2006/relationships/image" Target="../media/image17.jpe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image" Target="../media/image23.jpeg"/><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6.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7.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6.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www.hio.org.cy/"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hyperlink" Target="mailto:hio@hio.org.cy" TargetMode="Externa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chart" Target="../charts/chart1.xml"/><Relationship Id="rId7"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8.png"/><Relationship Id="rId11" Type="http://schemas.openxmlformats.org/officeDocument/2006/relationships/image" Target="../media/image12.jpeg"/><Relationship Id="rId5" Type="http://schemas.openxmlformats.org/officeDocument/2006/relationships/image" Target="../media/image7.png"/><Relationship Id="rId10" Type="http://schemas.openxmlformats.org/officeDocument/2006/relationships/hyperlink" Target="http://www.google.com/imgres?imgurl=http://www.thefreevectors.com/images/european-union-flag-free-design-4939.jpg&amp;imgrefurl=http://www.thefreevectors.com/download/european-union-flag-free-design-4939.html&amp;usg=__s-t2yZnDmponNQcL6VaRPJ93JC8=&amp;h=166&amp;w=250&amp;sz=6&amp;hl=en&amp;start=8&amp;zoom=1&amp;tbnid=sO0stPqvlGvznM:&amp;tbnh=74&amp;tbnw=111&amp;ei=-oHLToGZFpHqOfyPpY8P&amp;prev=/search?q=eu+flag+images+free&amp;hl=en&amp;sa=X&amp;rlz=1T4ADBF_enCY304CY307&amp;tbm=isch&amp;prmd=ivns&amp;itbs=1" TargetMode="External"/><Relationship Id="rId4" Type="http://schemas.openxmlformats.org/officeDocument/2006/relationships/image" Target="../media/image6.png"/><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10"/>
          <p:cNvSpPr txBox="1">
            <a:spLocks/>
          </p:cNvSpPr>
          <p:nvPr/>
        </p:nvSpPr>
        <p:spPr bwMode="auto">
          <a:xfrm>
            <a:off x="2108200" y="6024880"/>
            <a:ext cx="6853238" cy="683895"/>
          </a:xfrm>
          <a:prstGeom prst="rect">
            <a:avLst/>
          </a:prstGeom>
          <a:noFill/>
          <a:ln w="9525">
            <a:noFill/>
            <a:miter lim="800000"/>
            <a:headEnd/>
            <a:tailEnd/>
          </a:ln>
        </p:spPr>
        <p:txBody>
          <a:bodyPr/>
          <a:lstStyle/>
          <a:p>
            <a:pPr algn="just"/>
            <a:r>
              <a:rPr lang="el-GR" sz="800" dirty="0"/>
              <a:t>Το σύνολο του περιεχομένου αυτής της παρουσίασης ανήκει αποκλειστικά στον Οργανισμό Ασφάλισης Υγείας. Απαγορεύεται ρητά οποιαδήποτε αντιγραφή, αναπαραγωγή, μεταφορά, αποθήκευση, μεταποίηση, αναδημοσίευση, μετάδοση, διανομή, πώληση, έκδοση, εκτέλεση, φόρτωση (</a:t>
            </a:r>
            <a:r>
              <a:rPr lang="en-GB" sz="800" dirty="0"/>
              <a:t>download</a:t>
            </a:r>
            <a:r>
              <a:rPr lang="el-GR" sz="800" dirty="0"/>
              <a:t>)</a:t>
            </a:r>
            <a:r>
              <a:rPr lang="en-GB" sz="800" dirty="0"/>
              <a:t>, </a:t>
            </a:r>
            <a:r>
              <a:rPr lang="el-GR" sz="800" dirty="0"/>
              <a:t>μετάφραση, τροποποίηση με οποιονδήποτε τρόπο, ανακοίνωση, διάδοση ή οποιαδήποτε άλλη χρήση του περιεχομένου της παρουσίασης αυτής με οποιονδήποτε τρόπο ή μέσο για εμπορικούς ή άλλους σκοπούς, τμηματικά ή περιληπτικά χωρίς τη ρητή προηγούμενη έγγραφη συναίνεση του Οργανισμού.    </a:t>
            </a:r>
            <a:endParaRPr lang="en-US" sz="800" dirty="0"/>
          </a:p>
        </p:txBody>
      </p:sp>
      <p:grpSp>
        <p:nvGrpSpPr>
          <p:cNvPr id="10" name="Group 6"/>
          <p:cNvGrpSpPr>
            <a:grpSpLocks/>
          </p:cNvGrpSpPr>
          <p:nvPr/>
        </p:nvGrpSpPr>
        <p:grpSpPr bwMode="auto">
          <a:xfrm>
            <a:off x="2445304" y="783191"/>
            <a:ext cx="6135687" cy="2470372"/>
            <a:chOff x="307845" y="44965"/>
            <a:chExt cx="5479481" cy="1475053"/>
          </a:xfrm>
        </p:grpSpPr>
        <p:sp>
          <p:nvSpPr>
            <p:cNvPr id="11" name="Rounded Rectangle 10"/>
            <p:cNvSpPr/>
            <p:nvPr/>
          </p:nvSpPr>
          <p:spPr>
            <a:xfrm>
              <a:off x="307845" y="44965"/>
              <a:ext cx="5479481" cy="1475053"/>
            </a:xfrm>
            <a:prstGeom prst="roundRect">
              <a:avLst/>
            </a:prstGeom>
          </p:spPr>
          <p:style>
            <a:lnRef idx="1">
              <a:schemeClr val="accent6"/>
            </a:lnRef>
            <a:fillRef idx="3">
              <a:schemeClr val="accent6"/>
            </a:fillRef>
            <a:effectRef idx="2">
              <a:schemeClr val="accent6"/>
            </a:effectRef>
            <a:fontRef idx="minor">
              <a:schemeClr val="lt1"/>
            </a:fontRef>
          </p:style>
        </p:sp>
        <p:sp>
          <p:nvSpPr>
            <p:cNvPr id="12" name="Rounded Rectangle 4"/>
            <p:cNvSpPr/>
            <p:nvPr/>
          </p:nvSpPr>
          <p:spPr>
            <a:xfrm>
              <a:off x="380148" y="116339"/>
              <a:ext cx="5334875" cy="1332306"/>
            </a:xfrm>
            <a:prstGeom prst="rect">
              <a:avLst/>
            </a:prstGeom>
          </p:spPr>
          <p:style>
            <a:lnRef idx="0">
              <a:scrgbClr r="0" g="0" b="0"/>
            </a:lnRef>
            <a:fillRef idx="0">
              <a:scrgbClr r="0" g="0" b="0"/>
            </a:fillRef>
            <a:effectRef idx="0">
              <a:scrgbClr r="0" g="0" b="0"/>
            </a:effectRef>
            <a:fontRef idx="minor">
              <a:schemeClr val="lt1"/>
            </a:fontRef>
          </p:style>
          <p:txBody>
            <a:bodyPr lIns="162902" tIns="0" rIns="162902" bIns="0" spcCol="1270" anchor="ctr"/>
            <a:lstStyle/>
            <a:p>
              <a:pPr algn="ctr" defTabSz="1066800">
                <a:lnSpc>
                  <a:spcPct val="90000"/>
                </a:lnSpc>
                <a:spcAft>
                  <a:spcPct val="35000"/>
                </a:spcAft>
                <a:defRPr/>
              </a:pPr>
              <a:r>
                <a:rPr lang="el-GR" sz="3600" b="1" dirty="0"/>
                <a:t>Καθολική Κάλυψη &amp; </a:t>
              </a:r>
            </a:p>
            <a:p>
              <a:pPr algn="ctr" defTabSz="1066800">
                <a:lnSpc>
                  <a:spcPct val="90000"/>
                </a:lnSpc>
                <a:spcAft>
                  <a:spcPct val="35000"/>
                </a:spcAft>
                <a:defRPr/>
              </a:pPr>
              <a:r>
                <a:rPr lang="el-GR" sz="3600" b="1" dirty="0"/>
                <a:t>Γενικό Σύστημα Υγείας</a:t>
              </a:r>
              <a:endParaRPr lang="el-GR" sz="3600" b="1" dirty="0">
                <a:solidFill>
                  <a:schemeClr val="bg1"/>
                </a:solidFill>
              </a:endParaRPr>
            </a:p>
          </p:txBody>
        </p:sp>
      </p:grpSp>
      <p:grpSp>
        <p:nvGrpSpPr>
          <p:cNvPr id="13" name="Group 9"/>
          <p:cNvGrpSpPr>
            <a:grpSpLocks/>
          </p:cNvGrpSpPr>
          <p:nvPr/>
        </p:nvGrpSpPr>
        <p:grpSpPr bwMode="auto">
          <a:xfrm>
            <a:off x="2594345" y="3540643"/>
            <a:ext cx="6007395" cy="2328530"/>
            <a:chOff x="235354" y="1902764"/>
            <a:chExt cx="5846395" cy="1959515"/>
          </a:xfrm>
        </p:grpSpPr>
        <p:sp>
          <p:nvSpPr>
            <p:cNvPr id="14" name="Rounded Rectangle 13"/>
            <p:cNvSpPr/>
            <p:nvPr/>
          </p:nvSpPr>
          <p:spPr>
            <a:xfrm>
              <a:off x="235354" y="1902764"/>
              <a:ext cx="5846395" cy="1959515"/>
            </a:xfrm>
            <a:prstGeom prst="roundRect">
              <a:avLst/>
            </a:prstGeom>
            <a:solidFill>
              <a:schemeClr val="tx2">
                <a:lumMod val="10000"/>
                <a:lumOff val="90000"/>
              </a:schemeClr>
            </a:solidFill>
          </p:spPr>
          <p:style>
            <a:lnRef idx="2">
              <a:schemeClr val="lt1">
                <a:hueOff val="0"/>
                <a:satOff val="0"/>
                <a:lumOff val="0"/>
                <a:alphaOff val="0"/>
              </a:schemeClr>
            </a:lnRef>
            <a:fillRef idx="1">
              <a:scrgbClr r="0" g="0" b="0"/>
            </a:fillRef>
            <a:effectRef idx="0">
              <a:schemeClr val="accent2">
                <a:shade val="50000"/>
                <a:hueOff val="184384"/>
                <a:satOff val="62090"/>
                <a:lumOff val="34721"/>
                <a:alphaOff val="0"/>
              </a:schemeClr>
            </a:effectRef>
            <a:fontRef idx="minor">
              <a:schemeClr val="lt1"/>
            </a:fontRef>
          </p:style>
        </p:sp>
        <p:sp>
          <p:nvSpPr>
            <p:cNvPr id="15" name="Rounded Rectangle 4"/>
            <p:cNvSpPr/>
            <p:nvPr/>
          </p:nvSpPr>
          <p:spPr>
            <a:xfrm>
              <a:off x="349393" y="2081713"/>
              <a:ext cx="5618318" cy="1631506"/>
            </a:xfrm>
            <a:prstGeom prst="rect">
              <a:avLst/>
            </a:prstGeom>
          </p:spPr>
          <p:style>
            <a:lnRef idx="0">
              <a:scrgbClr r="0" g="0" b="0"/>
            </a:lnRef>
            <a:fillRef idx="0">
              <a:scrgbClr r="0" g="0" b="0"/>
            </a:fillRef>
            <a:effectRef idx="0">
              <a:scrgbClr r="0" g="0" b="0"/>
            </a:effectRef>
            <a:fontRef idx="minor">
              <a:schemeClr val="lt1"/>
            </a:fontRef>
          </p:style>
          <p:txBody>
            <a:bodyPr lIns="162902" tIns="0" rIns="162902" bIns="0" spcCol="1270" anchor="ctr"/>
            <a:lstStyle/>
            <a:p>
              <a:pPr algn="ctr" defTabSz="711200">
                <a:lnSpc>
                  <a:spcPct val="90000"/>
                </a:lnSpc>
                <a:spcAft>
                  <a:spcPct val="35000"/>
                </a:spcAft>
                <a:defRPr/>
              </a:pPr>
              <a:endParaRPr lang="en-GB" b="1" dirty="0">
                <a:solidFill>
                  <a:schemeClr val="accent6">
                    <a:lumMod val="50000"/>
                  </a:schemeClr>
                </a:solidFill>
              </a:endParaRPr>
            </a:p>
            <a:p>
              <a:pPr algn="ctr" defTabSz="711200">
                <a:lnSpc>
                  <a:spcPct val="90000"/>
                </a:lnSpc>
                <a:spcAft>
                  <a:spcPct val="35000"/>
                </a:spcAft>
                <a:defRPr/>
              </a:pPr>
              <a:endParaRPr lang="en-GB" b="1" dirty="0">
                <a:solidFill>
                  <a:schemeClr val="accent6">
                    <a:lumMod val="50000"/>
                  </a:schemeClr>
                </a:solidFill>
              </a:endParaRPr>
            </a:p>
            <a:p>
              <a:pPr algn="ctr" defTabSz="711200">
                <a:lnSpc>
                  <a:spcPct val="90000"/>
                </a:lnSpc>
                <a:spcAft>
                  <a:spcPct val="35000"/>
                </a:spcAft>
                <a:defRPr/>
              </a:pPr>
              <a:endParaRPr lang="en-GB" b="1" dirty="0">
                <a:solidFill>
                  <a:schemeClr val="accent6">
                    <a:lumMod val="50000"/>
                  </a:schemeClr>
                </a:solidFill>
              </a:endParaRPr>
            </a:p>
            <a:p>
              <a:pPr algn="ctr" defTabSz="711200">
                <a:lnSpc>
                  <a:spcPct val="90000"/>
                </a:lnSpc>
                <a:spcAft>
                  <a:spcPct val="35000"/>
                </a:spcAft>
                <a:defRPr/>
              </a:pPr>
              <a:endParaRPr lang="en-GB" b="1" dirty="0">
                <a:solidFill>
                  <a:schemeClr val="accent6">
                    <a:lumMod val="50000"/>
                  </a:schemeClr>
                </a:solidFill>
              </a:endParaRPr>
            </a:p>
            <a:p>
              <a:pPr algn="ctr" defTabSz="711200">
                <a:lnSpc>
                  <a:spcPct val="90000"/>
                </a:lnSpc>
                <a:spcAft>
                  <a:spcPct val="35000"/>
                </a:spcAft>
                <a:defRPr/>
              </a:pPr>
              <a:r>
                <a:rPr lang="el-GR" sz="2400" b="1" dirty="0">
                  <a:solidFill>
                    <a:schemeClr val="accent6">
                      <a:lumMod val="50000"/>
                    </a:schemeClr>
                  </a:solidFill>
                </a:rPr>
                <a:t>Παγκόσμια Ημέρα Υγείας</a:t>
              </a:r>
            </a:p>
            <a:p>
              <a:pPr algn="ctr" defTabSz="711200">
                <a:lnSpc>
                  <a:spcPct val="90000"/>
                </a:lnSpc>
                <a:spcAft>
                  <a:spcPct val="35000"/>
                </a:spcAft>
                <a:defRPr/>
              </a:pPr>
              <a:r>
                <a:rPr lang="el-GR" b="1" dirty="0">
                  <a:solidFill>
                    <a:schemeClr val="accent6">
                      <a:lumMod val="50000"/>
                    </a:schemeClr>
                  </a:solidFill>
                </a:rPr>
                <a:t>2 Απριλίου 2018</a:t>
              </a:r>
            </a:p>
            <a:p>
              <a:pPr algn="ctr" defTabSz="711200">
                <a:lnSpc>
                  <a:spcPct val="90000"/>
                </a:lnSpc>
                <a:spcAft>
                  <a:spcPct val="35000"/>
                </a:spcAft>
                <a:defRPr/>
              </a:pPr>
              <a:endParaRPr lang="el-GR" b="1" dirty="0">
                <a:solidFill>
                  <a:schemeClr val="accent6">
                    <a:lumMod val="50000"/>
                  </a:schemeClr>
                </a:solidFill>
              </a:endParaRPr>
            </a:p>
            <a:p>
              <a:pPr algn="ctr" defTabSz="711200">
                <a:lnSpc>
                  <a:spcPct val="90000"/>
                </a:lnSpc>
                <a:spcAft>
                  <a:spcPct val="35000"/>
                </a:spcAft>
                <a:defRPr/>
              </a:pPr>
              <a:endParaRPr lang="en-GB" b="1" dirty="0">
                <a:solidFill>
                  <a:schemeClr val="accent6">
                    <a:lumMod val="50000"/>
                  </a:schemeClr>
                </a:solidFill>
              </a:endParaRPr>
            </a:p>
            <a:p>
              <a:pPr algn="ctr" defTabSz="711200">
                <a:lnSpc>
                  <a:spcPct val="90000"/>
                </a:lnSpc>
                <a:spcAft>
                  <a:spcPct val="35000"/>
                </a:spcAft>
                <a:defRPr/>
              </a:pPr>
              <a:r>
                <a:rPr lang="el-GR" sz="2400" b="1" dirty="0">
                  <a:solidFill>
                    <a:schemeClr val="accent6">
                      <a:lumMod val="50000"/>
                    </a:schemeClr>
                  </a:solidFill>
                </a:rPr>
                <a:t>Οργανισμός Ασφάλισης Υγείας</a:t>
              </a:r>
            </a:p>
            <a:p>
              <a:pPr algn="ctr" defTabSz="711200">
                <a:lnSpc>
                  <a:spcPct val="90000"/>
                </a:lnSpc>
                <a:spcAft>
                  <a:spcPct val="35000"/>
                </a:spcAft>
                <a:defRPr/>
              </a:pPr>
              <a:endParaRPr lang="el-GR" sz="1800" b="1" i="1" dirty="0">
                <a:solidFill>
                  <a:schemeClr val="accent6">
                    <a:lumMod val="50000"/>
                  </a:schemeClr>
                </a:solidFill>
              </a:endParaRPr>
            </a:p>
            <a:p>
              <a:pPr algn="ctr" defTabSz="711200">
                <a:lnSpc>
                  <a:spcPct val="90000"/>
                </a:lnSpc>
                <a:spcAft>
                  <a:spcPct val="35000"/>
                </a:spcAft>
                <a:defRPr/>
              </a:pPr>
              <a:endParaRPr lang="el-GR" sz="1800" b="1" i="1" dirty="0">
                <a:solidFill>
                  <a:schemeClr val="accent6">
                    <a:lumMod val="50000"/>
                  </a:schemeClr>
                </a:solidFill>
              </a:endParaRPr>
            </a:p>
            <a:p>
              <a:pPr algn="ctr" defTabSz="711200">
                <a:lnSpc>
                  <a:spcPct val="90000"/>
                </a:lnSpc>
                <a:spcAft>
                  <a:spcPct val="35000"/>
                </a:spcAft>
                <a:defRPr/>
              </a:pPr>
              <a:endParaRPr lang="el-GR" b="1" dirty="0">
                <a:solidFill>
                  <a:schemeClr val="accent6">
                    <a:lumMod val="50000"/>
                  </a:schemeClr>
                </a:solidFill>
              </a:endParaRPr>
            </a:p>
            <a:p>
              <a:pPr algn="ctr" defTabSz="711200">
                <a:lnSpc>
                  <a:spcPct val="90000"/>
                </a:lnSpc>
                <a:spcAft>
                  <a:spcPct val="35000"/>
                </a:spcAft>
                <a:defRPr/>
              </a:pPr>
              <a:endParaRPr lang="el-GR" b="1" dirty="0">
                <a:solidFill>
                  <a:schemeClr val="accent6">
                    <a:lumMod val="50000"/>
                  </a:schemeClr>
                </a:solidFill>
              </a:endParaRPr>
            </a:p>
          </p:txBody>
        </p:sp>
      </p:grpSp>
    </p:spTree>
  </p:cSld>
  <p:clrMapOvr>
    <a:masterClrMapping/>
  </p:clrMapOvr>
  <p:transition spd="med">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B17A159A-E52B-4D42-808C-E74FEF552C31}" type="slidenum">
              <a:rPr lang="en-GB" smtClean="0"/>
              <a:pPr>
                <a:defRPr/>
              </a:pPr>
              <a:t>9</a:t>
            </a:fld>
            <a:endParaRPr lang="en-GB"/>
          </a:p>
        </p:txBody>
      </p:sp>
      <p:graphicFrame>
        <p:nvGraphicFramePr>
          <p:cNvPr id="4" name="Diagram 3"/>
          <p:cNvGraphicFramePr/>
          <p:nvPr/>
        </p:nvGraphicFramePr>
        <p:xfrm>
          <a:off x="461472" y="1115798"/>
          <a:ext cx="7695696" cy="45607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7" name="Group 10"/>
          <p:cNvGrpSpPr>
            <a:grpSpLocks/>
          </p:cNvGrpSpPr>
          <p:nvPr/>
        </p:nvGrpSpPr>
        <p:grpSpPr bwMode="auto">
          <a:xfrm>
            <a:off x="160338" y="228898"/>
            <a:ext cx="5655671" cy="381600"/>
            <a:chOff x="359153" y="260248"/>
            <a:chExt cx="3844470" cy="840050"/>
          </a:xfrm>
        </p:grpSpPr>
        <p:sp>
          <p:nvSpPr>
            <p:cNvPr id="8" name="Rounded Rectangle 7"/>
            <p:cNvSpPr/>
            <p:nvPr/>
          </p:nvSpPr>
          <p:spPr>
            <a:xfrm>
              <a:off x="359153" y="260248"/>
              <a:ext cx="3844470" cy="840050"/>
            </a:xfrm>
            <a:prstGeom prst="round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9" name="Rounded Rectangle 4"/>
            <p:cNvSpPr/>
            <p:nvPr/>
          </p:nvSpPr>
          <p:spPr>
            <a:xfrm>
              <a:off x="399960" y="302251"/>
              <a:ext cx="3762856" cy="756045"/>
            </a:xfrm>
            <a:prstGeom prst="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defTabSz="1066800">
                <a:lnSpc>
                  <a:spcPct val="90000"/>
                </a:lnSpc>
                <a:defRPr/>
              </a:pPr>
              <a:r>
                <a:rPr lang="el-GR" sz="2000" b="1" dirty="0"/>
                <a:t>Βασικές Αρχές</a:t>
              </a:r>
              <a:endParaRPr lang="en-GB" sz="2000" b="1" dirty="0"/>
            </a:p>
          </p:txBody>
        </p:sp>
      </p:grpSp>
    </p:spTree>
  </p:cSld>
  <p:clrMapOvr>
    <a:masterClrMapping/>
  </p:clrMapOvr>
  <p:transition spd="med">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Slide Number Placeholder 2"/>
          <p:cNvSpPr>
            <a:spLocks noGrp="1"/>
          </p:cNvSpPr>
          <p:nvPr>
            <p:ph type="sldNum" sz="quarter" idx="10"/>
          </p:nvPr>
        </p:nvSpPr>
        <p:spPr>
          <a:noFill/>
        </p:spPr>
        <p:txBody>
          <a:bodyPr/>
          <a:lstStyle/>
          <a:p>
            <a:pPr defTabSz="895350"/>
            <a:fld id="{C6C9379B-FF34-45B7-A036-3AFB9EF8061E}" type="slidenum">
              <a:rPr lang="en-GB" smtClean="0">
                <a:ea typeface="ＭＳ Ｐゴシック" pitchFamily="34" charset="-128"/>
              </a:rPr>
              <a:pPr defTabSz="895350"/>
              <a:t>10</a:t>
            </a:fld>
            <a:endParaRPr lang="en-GB" dirty="0">
              <a:ea typeface="ＭＳ Ｐゴシック" pitchFamily="34" charset="-128"/>
            </a:endParaRPr>
          </a:p>
        </p:txBody>
      </p:sp>
      <p:graphicFrame>
        <p:nvGraphicFramePr>
          <p:cNvPr id="2050" name="Rectangle 3"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1795" r:id="rId27" imgW="0" imgH="0" progId="">
                  <p:embed/>
                </p:oleObj>
              </mc:Choice>
              <mc:Fallback>
                <p:oleObj r:id="rId27" imgW="0" imgH="0" progId="">
                  <p:embed/>
                  <p:pic>
                    <p:nvPicPr>
                      <p:cNvPr id="0"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2" name="Group 31"/>
          <p:cNvGrpSpPr/>
          <p:nvPr/>
        </p:nvGrpSpPr>
        <p:grpSpPr>
          <a:xfrm>
            <a:off x="1626792" y="914400"/>
            <a:ext cx="5526361" cy="5305647"/>
            <a:chOff x="3500438" y="1096963"/>
            <a:chExt cx="4811712" cy="4668837"/>
          </a:xfrm>
        </p:grpSpPr>
        <p:sp>
          <p:nvSpPr>
            <p:cNvPr id="2053" name="Rectangle 16"/>
            <p:cNvSpPr>
              <a:spLocks noChangeArrowheads="1"/>
            </p:cNvSpPr>
            <p:nvPr>
              <p:custDataLst>
                <p:tags r:id="rId3"/>
              </p:custDataLst>
            </p:nvPr>
          </p:nvSpPr>
          <p:spPr bwMode="auto">
            <a:xfrm>
              <a:off x="5145088" y="3003550"/>
              <a:ext cx="925512" cy="244475"/>
            </a:xfrm>
            <a:prstGeom prst="rect">
              <a:avLst/>
            </a:prstGeom>
            <a:noFill/>
            <a:ln w="9525">
              <a:noFill/>
              <a:miter lim="800000"/>
              <a:headEnd/>
              <a:tailEnd/>
            </a:ln>
          </p:spPr>
          <p:txBody>
            <a:bodyPr lIns="0" tIns="0" rIns="0" bIns="0" anchor="ctr" anchorCtr="1">
              <a:spAutoFit/>
            </a:bodyPr>
            <a:lstStyle/>
            <a:p>
              <a:pPr defTabSz="787400">
                <a:buSzPct val="120000"/>
              </a:pPr>
              <a:r>
                <a:rPr lang="en-GB" b="1" dirty="0"/>
                <a:t>HIO</a:t>
              </a:r>
            </a:p>
          </p:txBody>
        </p:sp>
        <p:sp>
          <p:nvSpPr>
            <p:cNvPr id="2054" name="Freeform 4"/>
            <p:cNvSpPr>
              <a:spLocks/>
            </p:cNvSpPr>
            <p:nvPr>
              <p:custDataLst>
                <p:tags r:id="rId4"/>
              </p:custDataLst>
            </p:nvPr>
          </p:nvSpPr>
          <p:spPr bwMode="auto">
            <a:xfrm>
              <a:off x="5915025" y="3960813"/>
              <a:ext cx="2006600" cy="1804987"/>
            </a:xfrm>
            <a:custGeom>
              <a:avLst/>
              <a:gdLst>
                <a:gd name="T0" fmla="*/ 2147483647 w 1364"/>
                <a:gd name="T1" fmla="*/ 2147483647 h 1226"/>
                <a:gd name="T2" fmla="*/ 2147483647 w 1364"/>
                <a:gd name="T3" fmla="*/ 2147483647 h 1226"/>
                <a:gd name="T4" fmla="*/ 2147483647 w 1364"/>
                <a:gd name="T5" fmla="*/ 0 h 1226"/>
                <a:gd name="T6" fmla="*/ 2147483647 w 1364"/>
                <a:gd name="T7" fmla="*/ 2147483647 h 1226"/>
                <a:gd name="T8" fmla="*/ 2147483647 w 1364"/>
                <a:gd name="T9" fmla="*/ 2147483647 h 1226"/>
                <a:gd name="T10" fmla="*/ 2147483647 w 1364"/>
                <a:gd name="T11" fmla="*/ 2147483647 h 1226"/>
                <a:gd name="T12" fmla="*/ 2147483647 w 1364"/>
                <a:gd name="T13" fmla="*/ 2147483647 h 1226"/>
                <a:gd name="T14" fmla="*/ 2147483647 w 1364"/>
                <a:gd name="T15" fmla="*/ 2147483647 h 1226"/>
                <a:gd name="T16" fmla="*/ 2147483647 w 1364"/>
                <a:gd name="T17" fmla="*/ 2147483647 h 1226"/>
                <a:gd name="T18" fmla="*/ 2147483647 w 1364"/>
                <a:gd name="T19" fmla="*/ 2147483647 h 1226"/>
                <a:gd name="T20" fmla="*/ 2147483647 w 1364"/>
                <a:gd name="T21" fmla="*/ 2147483647 h 1226"/>
                <a:gd name="T22" fmla="*/ 0 w 1364"/>
                <a:gd name="T23" fmla="*/ 2147483647 h 1226"/>
                <a:gd name="T24" fmla="*/ 2147483647 w 1364"/>
                <a:gd name="T25" fmla="*/ 2147483647 h 1226"/>
                <a:gd name="T26" fmla="*/ 2147483647 w 1364"/>
                <a:gd name="T27" fmla="*/ 2147483647 h 1226"/>
                <a:gd name="T28" fmla="*/ 2147483647 w 1364"/>
                <a:gd name="T29" fmla="*/ 2147483647 h 1226"/>
                <a:gd name="T30" fmla="*/ 2147483647 w 1364"/>
                <a:gd name="T31" fmla="*/ 2147483647 h 1226"/>
                <a:gd name="T32" fmla="*/ 2147483647 w 1364"/>
                <a:gd name="T33" fmla="*/ 2147483647 h 1226"/>
                <a:gd name="T34" fmla="*/ 2147483647 w 1364"/>
                <a:gd name="T35" fmla="*/ 2147483647 h 1226"/>
                <a:gd name="T36" fmla="*/ 2147483647 w 1364"/>
                <a:gd name="T37" fmla="*/ 2147483647 h 1226"/>
                <a:gd name="T38" fmla="*/ 2147483647 w 1364"/>
                <a:gd name="T39" fmla="*/ 2147483647 h 1226"/>
                <a:gd name="T40" fmla="*/ 2147483647 w 1364"/>
                <a:gd name="T41" fmla="*/ 2147483647 h 1226"/>
                <a:gd name="T42" fmla="*/ 2147483647 w 1364"/>
                <a:gd name="T43" fmla="*/ 2147483647 h 1226"/>
                <a:gd name="T44" fmla="*/ 2147483647 w 1364"/>
                <a:gd name="T45" fmla="*/ 2147483647 h 1226"/>
                <a:gd name="T46" fmla="*/ 2147483647 w 1364"/>
                <a:gd name="T47" fmla="*/ 2147483647 h 1226"/>
                <a:gd name="T48" fmla="*/ 2147483647 w 1364"/>
                <a:gd name="T49" fmla="*/ 2147483647 h 1226"/>
                <a:gd name="T50" fmla="*/ 2147483647 w 1364"/>
                <a:gd name="T51" fmla="*/ 2147483647 h 1226"/>
                <a:gd name="T52" fmla="*/ 2147483647 w 1364"/>
                <a:gd name="T53" fmla="*/ 2147483647 h 1226"/>
                <a:gd name="T54" fmla="*/ 2147483647 w 1364"/>
                <a:gd name="T55" fmla="*/ 2147483647 h 122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64"/>
                <a:gd name="T85" fmla="*/ 0 h 1226"/>
                <a:gd name="T86" fmla="*/ 1364 w 1364"/>
                <a:gd name="T87" fmla="*/ 1226 h 122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64" h="1226">
                  <a:moveTo>
                    <a:pt x="1364" y="501"/>
                  </a:moveTo>
                  <a:lnTo>
                    <a:pt x="910" y="210"/>
                  </a:lnTo>
                  <a:lnTo>
                    <a:pt x="566" y="0"/>
                  </a:lnTo>
                  <a:lnTo>
                    <a:pt x="536" y="45"/>
                  </a:lnTo>
                  <a:lnTo>
                    <a:pt x="484" y="103"/>
                  </a:lnTo>
                  <a:lnTo>
                    <a:pt x="426" y="152"/>
                  </a:lnTo>
                  <a:lnTo>
                    <a:pt x="363" y="197"/>
                  </a:lnTo>
                  <a:lnTo>
                    <a:pt x="295" y="234"/>
                  </a:lnTo>
                  <a:lnTo>
                    <a:pt x="228" y="263"/>
                  </a:lnTo>
                  <a:lnTo>
                    <a:pt x="154" y="285"/>
                  </a:lnTo>
                  <a:lnTo>
                    <a:pt x="75" y="296"/>
                  </a:lnTo>
                  <a:lnTo>
                    <a:pt x="0" y="301"/>
                  </a:lnTo>
                  <a:lnTo>
                    <a:pt x="4" y="715"/>
                  </a:lnTo>
                  <a:lnTo>
                    <a:pt x="3" y="1226"/>
                  </a:lnTo>
                  <a:lnTo>
                    <a:pt x="118" y="1218"/>
                  </a:lnTo>
                  <a:lnTo>
                    <a:pt x="234" y="1208"/>
                  </a:lnTo>
                  <a:lnTo>
                    <a:pt x="349" y="1186"/>
                  </a:lnTo>
                  <a:lnTo>
                    <a:pt x="459" y="1157"/>
                  </a:lnTo>
                  <a:lnTo>
                    <a:pt x="571" y="1122"/>
                  </a:lnTo>
                  <a:lnTo>
                    <a:pt x="677" y="1079"/>
                  </a:lnTo>
                  <a:lnTo>
                    <a:pt x="783" y="1029"/>
                  </a:lnTo>
                  <a:lnTo>
                    <a:pt x="882" y="968"/>
                  </a:lnTo>
                  <a:lnTo>
                    <a:pt x="978" y="907"/>
                  </a:lnTo>
                  <a:lnTo>
                    <a:pt x="1066" y="836"/>
                  </a:lnTo>
                  <a:lnTo>
                    <a:pt x="1152" y="757"/>
                  </a:lnTo>
                  <a:lnTo>
                    <a:pt x="1233" y="674"/>
                  </a:lnTo>
                  <a:lnTo>
                    <a:pt x="1303" y="589"/>
                  </a:lnTo>
                  <a:lnTo>
                    <a:pt x="1364" y="501"/>
                  </a:lnTo>
                </a:path>
              </a:pathLst>
            </a:custGeom>
            <a:solidFill>
              <a:schemeClr val="accent1"/>
            </a:solidFill>
            <a:ln w="76200" cap="rnd">
              <a:solidFill>
                <a:schemeClr val="bg2"/>
              </a:solidFill>
              <a:round/>
              <a:headEnd/>
              <a:tailEnd/>
            </a:ln>
          </p:spPr>
          <p:txBody>
            <a:bodyPr wrap="none" lIns="0" tIns="0" rIns="0" bIns="0" anchor="ctr" anchorCtr="1">
              <a:spAutoFit/>
            </a:bodyPr>
            <a:lstStyle/>
            <a:p>
              <a:endParaRPr lang="el-GR" dirty="0"/>
            </a:p>
          </p:txBody>
        </p:sp>
        <p:sp>
          <p:nvSpPr>
            <p:cNvPr id="2055" name="Freeform 5"/>
            <p:cNvSpPr>
              <a:spLocks/>
            </p:cNvSpPr>
            <p:nvPr>
              <p:custDataLst>
                <p:tags r:id="rId5"/>
              </p:custDataLst>
            </p:nvPr>
          </p:nvSpPr>
          <p:spPr bwMode="auto">
            <a:xfrm>
              <a:off x="3500438" y="2211388"/>
              <a:ext cx="1550987" cy="2413000"/>
            </a:xfrm>
            <a:custGeom>
              <a:avLst/>
              <a:gdLst>
                <a:gd name="T0" fmla="*/ 2147483647 w 1054"/>
                <a:gd name="T1" fmla="*/ 2147483647 h 1640"/>
                <a:gd name="T2" fmla="*/ 2147483647 w 1054"/>
                <a:gd name="T3" fmla="*/ 2147483647 h 1640"/>
                <a:gd name="T4" fmla="*/ 2147483647 w 1054"/>
                <a:gd name="T5" fmla="*/ 2147483647 h 1640"/>
                <a:gd name="T6" fmla="*/ 2147483647 w 1054"/>
                <a:gd name="T7" fmla="*/ 2147483647 h 1640"/>
                <a:gd name="T8" fmla="*/ 2147483647 w 1054"/>
                <a:gd name="T9" fmla="*/ 2147483647 h 1640"/>
                <a:gd name="T10" fmla="*/ 2147483647 w 1054"/>
                <a:gd name="T11" fmla="*/ 2147483647 h 1640"/>
                <a:gd name="T12" fmla="*/ 2147483647 w 1054"/>
                <a:gd name="T13" fmla="*/ 2147483647 h 1640"/>
                <a:gd name="T14" fmla="*/ 2147483647 w 1054"/>
                <a:gd name="T15" fmla="*/ 2147483647 h 1640"/>
                <a:gd name="T16" fmla="*/ 2147483647 w 1054"/>
                <a:gd name="T17" fmla="*/ 2147483647 h 1640"/>
                <a:gd name="T18" fmla="*/ 2147483647 w 1054"/>
                <a:gd name="T19" fmla="*/ 2147483647 h 1640"/>
                <a:gd name="T20" fmla="*/ 2147483647 w 1054"/>
                <a:gd name="T21" fmla="*/ 2147483647 h 1640"/>
                <a:gd name="T22" fmla="*/ 2147483647 w 1054"/>
                <a:gd name="T23" fmla="*/ 2147483647 h 1640"/>
                <a:gd name="T24" fmla="*/ 2147483647 w 1054"/>
                <a:gd name="T25" fmla="*/ 2147483647 h 1640"/>
                <a:gd name="T26" fmla="*/ 2147483647 w 1054"/>
                <a:gd name="T27" fmla="*/ 2147483647 h 1640"/>
                <a:gd name="T28" fmla="*/ 2147483647 w 1054"/>
                <a:gd name="T29" fmla="*/ 2147483647 h 1640"/>
                <a:gd name="T30" fmla="*/ 2147483647 w 1054"/>
                <a:gd name="T31" fmla="*/ 2147483647 h 1640"/>
                <a:gd name="T32" fmla="*/ 2147483647 w 1054"/>
                <a:gd name="T33" fmla="*/ 2147483647 h 1640"/>
                <a:gd name="T34" fmla="*/ 2147483647 w 1054"/>
                <a:gd name="T35" fmla="*/ 0 h 1640"/>
                <a:gd name="T36" fmla="*/ 2147483647 w 1054"/>
                <a:gd name="T37" fmla="*/ 2147483647 h 1640"/>
                <a:gd name="T38" fmla="*/ 2147483647 w 1054"/>
                <a:gd name="T39" fmla="*/ 2147483647 h 1640"/>
                <a:gd name="T40" fmla="*/ 2147483647 w 1054"/>
                <a:gd name="T41" fmla="*/ 2147483647 h 1640"/>
                <a:gd name="T42" fmla="*/ 2147483647 w 1054"/>
                <a:gd name="T43" fmla="*/ 2147483647 h 1640"/>
                <a:gd name="T44" fmla="*/ 2147483647 w 1054"/>
                <a:gd name="T45" fmla="*/ 2147483647 h 1640"/>
                <a:gd name="T46" fmla="*/ 2147483647 w 1054"/>
                <a:gd name="T47" fmla="*/ 2147483647 h 1640"/>
                <a:gd name="T48" fmla="*/ 2147483647 w 1054"/>
                <a:gd name="T49" fmla="*/ 2147483647 h 1640"/>
                <a:gd name="T50" fmla="*/ 0 w 1054"/>
                <a:gd name="T51" fmla="*/ 2147483647 h 1640"/>
                <a:gd name="T52" fmla="*/ 0 w 1054"/>
                <a:gd name="T53" fmla="*/ 2147483647 h 1640"/>
                <a:gd name="T54" fmla="*/ 2147483647 w 1054"/>
                <a:gd name="T55" fmla="*/ 2147483647 h 1640"/>
                <a:gd name="T56" fmla="*/ 2147483647 w 1054"/>
                <a:gd name="T57" fmla="*/ 2147483647 h 1640"/>
                <a:gd name="T58" fmla="*/ 2147483647 w 1054"/>
                <a:gd name="T59" fmla="*/ 2147483647 h 1640"/>
                <a:gd name="T60" fmla="*/ 2147483647 w 1054"/>
                <a:gd name="T61" fmla="*/ 2147483647 h 1640"/>
                <a:gd name="T62" fmla="*/ 2147483647 w 1054"/>
                <a:gd name="T63" fmla="*/ 2147483647 h 1640"/>
                <a:gd name="T64" fmla="*/ 2147483647 w 1054"/>
                <a:gd name="T65" fmla="*/ 2147483647 h 1640"/>
                <a:gd name="T66" fmla="*/ 2147483647 w 1054"/>
                <a:gd name="T67" fmla="*/ 2147483647 h 1640"/>
                <a:gd name="T68" fmla="*/ 2147483647 w 1054"/>
                <a:gd name="T69" fmla="*/ 2147483647 h 1640"/>
                <a:gd name="T70" fmla="*/ 2147483647 w 1054"/>
                <a:gd name="T71" fmla="*/ 2147483647 h 16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54"/>
                <a:gd name="T109" fmla="*/ 0 h 1640"/>
                <a:gd name="T110" fmla="*/ 1054 w 1054"/>
                <a:gd name="T111" fmla="*/ 1640 h 16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54" h="1640">
                  <a:moveTo>
                    <a:pt x="233" y="1640"/>
                  </a:moveTo>
                  <a:lnTo>
                    <a:pt x="602" y="1418"/>
                  </a:lnTo>
                  <a:lnTo>
                    <a:pt x="1054" y="1189"/>
                  </a:lnTo>
                  <a:lnTo>
                    <a:pt x="1033" y="1157"/>
                  </a:lnTo>
                  <a:lnTo>
                    <a:pt x="1000" y="1093"/>
                  </a:lnTo>
                  <a:lnTo>
                    <a:pt x="975" y="1027"/>
                  </a:lnTo>
                  <a:lnTo>
                    <a:pt x="952" y="962"/>
                  </a:lnTo>
                  <a:lnTo>
                    <a:pt x="947" y="912"/>
                  </a:lnTo>
                  <a:lnTo>
                    <a:pt x="945" y="890"/>
                  </a:lnTo>
                  <a:lnTo>
                    <a:pt x="939" y="844"/>
                  </a:lnTo>
                  <a:lnTo>
                    <a:pt x="939" y="816"/>
                  </a:lnTo>
                  <a:lnTo>
                    <a:pt x="945" y="746"/>
                  </a:lnTo>
                  <a:lnTo>
                    <a:pt x="952" y="674"/>
                  </a:lnTo>
                  <a:lnTo>
                    <a:pt x="975" y="603"/>
                  </a:lnTo>
                  <a:lnTo>
                    <a:pt x="1002" y="535"/>
                  </a:lnTo>
                  <a:lnTo>
                    <a:pt x="1016" y="512"/>
                  </a:lnTo>
                  <a:lnTo>
                    <a:pt x="589" y="215"/>
                  </a:lnTo>
                  <a:lnTo>
                    <a:pt x="239" y="0"/>
                  </a:lnTo>
                  <a:lnTo>
                    <a:pt x="203" y="61"/>
                  </a:lnTo>
                  <a:lnTo>
                    <a:pt x="151" y="162"/>
                  </a:lnTo>
                  <a:lnTo>
                    <a:pt x="104" y="267"/>
                  </a:lnTo>
                  <a:lnTo>
                    <a:pt x="68" y="375"/>
                  </a:lnTo>
                  <a:lnTo>
                    <a:pt x="36" y="488"/>
                  </a:lnTo>
                  <a:lnTo>
                    <a:pt x="16" y="600"/>
                  </a:lnTo>
                  <a:lnTo>
                    <a:pt x="3" y="714"/>
                  </a:lnTo>
                  <a:lnTo>
                    <a:pt x="0" y="829"/>
                  </a:lnTo>
                  <a:lnTo>
                    <a:pt x="0" y="842"/>
                  </a:lnTo>
                  <a:lnTo>
                    <a:pt x="3" y="927"/>
                  </a:lnTo>
                  <a:lnTo>
                    <a:pt x="3" y="939"/>
                  </a:lnTo>
                  <a:lnTo>
                    <a:pt x="16" y="1055"/>
                  </a:lnTo>
                  <a:lnTo>
                    <a:pt x="36" y="1167"/>
                  </a:lnTo>
                  <a:lnTo>
                    <a:pt x="66" y="1277"/>
                  </a:lnTo>
                  <a:lnTo>
                    <a:pt x="101" y="1386"/>
                  </a:lnTo>
                  <a:lnTo>
                    <a:pt x="149" y="1488"/>
                  </a:lnTo>
                  <a:lnTo>
                    <a:pt x="200" y="1589"/>
                  </a:lnTo>
                  <a:lnTo>
                    <a:pt x="233" y="1640"/>
                  </a:lnTo>
                </a:path>
              </a:pathLst>
            </a:custGeom>
            <a:solidFill>
              <a:schemeClr val="accent1"/>
            </a:solidFill>
            <a:ln w="76200" cap="rnd">
              <a:solidFill>
                <a:schemeClr val="bg2"/>
              </a:solidFill>
              <a:round/>
              <a:headEnd/>
              <a:tailEnd/>
            </a:ln>
          </p:spPr>
          <p:txBody>
            <a:bodyPr lIns="0" tIns="0" rIns="0" bIns="0" anchor="ctr" anchorCtr="1">
              <a:spAutoFit/>
            </a:bodyPr>
            <a:lstStyle/>
            <a:p>
              <a:endParaRPr lang="el-GR" dirty="0"/>
            </a:p>
          </p:txBody>
        </p:sp>
        <p:sp>
          <p:nvSpPr>
            <p:cNvPr id="2056" name="Freeform 6"/>
            <p:cNvSpPr>
              <a:spLocks/>
            </p:cNvSpPr>
            <p:nvPr>
              <p:custDataLst>
                <p:tags r:id="rId6"/>
              </p:custDataLst>
            </p:nvPr>
          </p:nvSpPr>
          <p:spPr bwMode="auto">
            <a:xfrm>
              <a:off x="5960104" y="1096963"/>
              <a:ext cx="2081212" cy="1871662"/>
            </a:xfrm>
            <a:custGeom>
              <a:avLst/>
              <a:gdLst>
                <a:gd name="T0" fmla="*/ 2147483647 w 1414"/>
                <a:gd name="T1" fmla="*/ 2147483647 h 1272"/>
                <a:gd name="T2" fmla="*/ 2147483647 w 1414"/>
                <a:gd name="T3" fmla="*/ 2147483647 h 1272"/>
                <a:gd name="T4" fmla="*/ 2147483647 w 1414"/>
                <a:gd name="T5" fmla="*/ 2147483647 h 1272"/>
                <a:gd name="T6" fmla="*/ 2147483647 w 1414"/>
                <a:gd name="T7" fmla="*/ 2147483647 h 1272"/>
                <a:gd name="T8" fmla="*/ 2147483647 w 1414"/>
                <a:gd name="T9" fmla="*/ 2147483647 h 1272"/>
                <a:gd name="T10" fmla="*/ 2147483647 w 1414"/>
                <a:gd name="T11" fmla="*/ 2147483647 h 1272"/>
                <a:gd name="T12" fmla="*/ 2147483647 w 1414"/>
                <a:gd name="T13" fmla="*/ 2147483647 h 1272"/>
                <a:gd name="T14" fmla="*/ 2147483647 w 1414"/>
                <a:gd name="T15" fmla="*/ 2147483647 h 1272"/>
                <a:gd name="T16" fmla="*/ 2147483647 w 1414"/>
                <a:gd name="T17" fmla="*/ 2147483647 h 1272"/>
                <a:gd name="T18" fmla="*/ 2147483647 w 1414"/>
                <a:gd name="T19" fmla="*/ 2147483647 h 1272"/>
                <a:gd name="T20" fmla="*/ 2147483647 w 1414"/>
                <a:gd name="T21" fmla="*/ 2147483647 h 1272"/>
                <a:gd name="T22" fmla="*/ 2147483647 w 1414"/>
                <a:gd name="T23" fmla="*/ 2147483647 h 1272"/>
                <a:gd name="T24" fmla="*/ 2147483647 w 1414"/>
                <a:gd name="T25" fmla="*/ 2147483647 h 1272"/>
                <a:gd name="T26" fmla="*/ 2147483647 w 1414"/>
                <a:gd name="T27" fmla="*/ 2147483647 h 1272"/>
                <a:gd name="T28" fmla="*/ 2147483647 w 1414"/>
                <a:gd name="T29" fmla="*/ 2147483647 h 1272"/>
                <a:gd name="T30" fmla="*/ 2147483647 w 1414"/>
                <a:gd name="T31" fmla="*/ 2147483647 h 1272"/>
                <a:gd name="T32" fmla="*/ 0 w 1414"/>
                <a:gd name="T33" fmla="*/ 0 h 1272"/>
                <a:gd name="T34" fmla="*/ 0 w 1414"/>
                <a:gd name="T35" fmla="*/ 2147483647 h 1272"/>
                <a:gd name="T36" fmla="*/ 2147483647 w 1414"/>
                <a:gd name="T37" fmla="*/ 2147483647 h 1272"/>
                <a:gd name="T38" fmla="*/ 2147483647 w 1414"/>
                <a:gd name="T39" fmla="*/ 2147483647 h 1272"/>
                <a:gd name="T40" fmla="*/ 2147483647 w 1414"/>
                <a:gd name="T41" fmla="*/ 2147483647 h 1272"/>
                <a:gd name="T42" fmla="*/ 2147483647 w 1414"/>
                <a:gd name="T43" fmla="*/ 2147483647 h 1272"/>
                <a:gd name="T44" fmla="*/ 2147483647 w 1414"/>
                <a:gd name="T45" fmla="*/ 2147483647 h 1272"/>
                <a:gd name="T46" fmla="*/ 2147483647 w 1414"/>
                <a:gd name="T47" fmla="*/ 2147483647 h 1272"/>
                <a:gd name="T48" fmla="*/ 2147483647 w 1414"/>
                <a:gd name="T49" fmla="*/ 2147483647 h 1272"/>
                <a:gd name="T50" fmla="*/ 2147483647 w 1414"/>
                <a:gd name="T51" fmla="*/ 2147483647 h 1272"/>
                <a:gd name="T52" fmla="*/ 2147483647 w 1414"/>
                <a:gd name="T53" fmla="*/ 2147483647 h 1272"/>
                <a:gd name="T54" fmla="*/ 2147483647 w 1414"/>
                <a:gd name="T55" fmla="*/ 2147483647 h 1272"/>
                <a:gd name="T56" fmla="*/ 2147483647 w 1414"/>
                <a:gd name="T57" fmla="*/ 2147483647 h 1272"/>
                <a:gd name="T58" fmla="*/ 2147483647 w 1414"/>
                <a:gd name="T59" fmla="*/ 2147483647 h 1272"/>
                <a:gd name="T60" fmla="*/ 2147483647 w 1414"/>
                <a:gd name="T61" fmla="*/ 2147483647 h 127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414"/>
                <a:gd name="T94" fmla="*/ 0 h 1272"/>
                <a:gd name="T95" fmla="*/ 1414 w 1414"/>
                <a:gd name="T96" fmla="*/ 1272 h 127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414" h="1272">
                  <a:moveTo>
                    <a:pt x="1414" y="831"/>
                  </a:moveTo>
                  <a:lnTo>
                    <a:pt x="1414" y="831"/>
                  </a:lnTo>
                  <a:lnTo>
                    <a:pt x="1356" y="735"/>
                  </a:lnTo>
                  <a:lnTo>
                    <a:pt x="1290" y="642"/>
                  </a:lnTo>
                  <a:lnTo>
                    <a:pt x="1219" y="554"/>
                  </a:lnTo>
                  <a:lnTo>
                    <a:pt x="1139" y="471"/>
                  </a:lnTo>
                  <a:lnTo>
                    <a:pt x="1056" y="395"/>
                  </a:lnTo>
                  <a:lnTo>
                    <a:pt x="965" y="323"/>
                  </a:lnTo>
                  <a:lnTo>
                    <a:pt x="871" y="260"/>
                  </a:lnTo>
                  <a:lnTo>
                    <a:pt x="773" y="202"/>
                  </a:lnTo>
                  <a:lnTo>
                    <a:pt x="672" y="149"/>
                  </a:lnTo>
                  <a:lnTo>
                    <a:pt x="565" y="106"/>
                  </a:lnTo>
                  <a:lnTo>
                    <a:pt x="458" y="69"/>
                  </a:lnTo>
                  <a:lnTo>
                    <a:pt x="343" y="40"/>
                  </a:lnTo>
                  <a:lnTo>
                    <a:pt x="233" y="18"/>
                  </a:lnTo>
                  <a:lnTo>
                    <a:pt x="117" y="3"/>
                  </a:lnTo>
                  <a:lnTo>
                    <a:pt x="0" y="0"/>
                  </a:lnTo>
                  <a:lnTo>
                    <a:pt x="0" y="486"/>
                  </a:lnTo>
                  <a:lnTo>
                    <a:pt x="3" y="901"/>
                  </a:lnTo>
                  <a:lnTo>
                    <a:pt x="79" y="909"/>
                  </a:lnTo>
                  <a:lnTo>
                    <a:pt x="151" y="924"/>
                  </a:lnTo>
                  <a:lnTo>
                    <a:pt x="225" y="946"/>
                  </a:lnTo>
                  <a:lnTo>
                    <a:pt x="293" y="975"/>
                  </a:lnTo>
                  <a:lnTo>
                    <a:pt x="359" y="1015"/>
                  </a:lnTo>
                  <a:lnTo>
                    <a:pt x="420" y="1058"/>
                  </a:lnTo>
                  <a:lnTo>
                    <a:pt x="472" y="1108"/>
                  </a:lnTo>
                  <a:lnTo>
                    <a:pt x="523" y="1164"/>
                  </a:lnTo>
                  <a:lnTo>
                    <a:pt x="565" y="1226"/>
                  </a:lnTo>
                  <a:lnTo>
                    <a:pt x="589" y="1272"/>
                  </a:lnTo>
                  <a:lnTo>
                    <a:pt x="977" y="1062"/>
                  </a:lnTo>
                  <a:lnTo>
                    <a:pt x="1414" y="831"/>
                  </a:lnTo>
                </a:path>
              </a:pathLst>
            </a:custGeom>
            <a:solidFill>
              <a:schemeClr val="accent1"/>
            </a:solidFill>
            <a:ln w="76200" cap="rnd">
              <a:solidFill>
                <a:schemeClr val="bg2"/>
              </a:solidFill>
              <a:round/>
              <a:headEnd/>
              <a:tailEnd/>
            </a:ln>
          </p:spPr>
          <p:txBody>
            <a:bodyPr wrap="none" lIns="0" tIns="0" rIns="0" bIns="0" anchor="ctr" anchorCtr="1">
              <a:spAutoFit/>
            </a:bodyPr>
            <a:lstStyle/>
            <a:p>
              <a:endParaRPr lang="el-GR" dirty="0"/>
            </a:p>
          </p:txBody>
        </p:sp>
        <p:sp>
          <p:nvSpPr>
            <p:cNvPr id="2057" name="Freeform 7"/>
            <p:cNvSpPr>
              <a:spLocks/>
            </p:cNvSpPr>
            <p:nvPr>
              <p:custDataLst>
                <p:tags r:id="rId7"/>
              </p:custDataLst>
            </p:nvPr>
          </p:nvSpPr>
          <p:spPr bwMode="auto">
            <a:xfrm>
              <a:off x="6745288" y="2319338"/>
              <a:ext cx="1566862" cy="2379662"/>
            </a:xfrm>
            <a:custGeom>
              <a:avLst/>
              <a:gdLst>
                <a:gd name="T0" fmla="*/ 2147483647 w 1064"/>
                <a:gd name="T1" fmla="*/ 2147483647 h 1616"/>
                <a:gd name="T2" fmla="*/ 2147483647 w 1064"/>
                <a:gd name="T3" fmla="*/ 2147483647 h 1616"/>
                <a:gd name="T4" fmla="*/ 2147483647 w 1064"/>
                <a:gd name="T5" fmla="*/ 2147483647 h 1616"/>
                <a:gd name="T6" fmla="*/ 2147483647 w 1064"/>
                <a:gd name="T7" fmla="*/ 2147483647 h 1616"/>
                <a:gd name="T8" fmla="*/ 2147483647 w 1064"/>
                <a:gd name="T9" fmla="*/ 2147483647 h 1616"/>
                <a:gd name="T10" fmla="*/ 2147483647 w 1064"/>
                <a:gd name="T11" fmla="*/ 2147483647 h 1616"/>
                <a:gd name="T12" fmla="*/ 2147483647 w 1064"/>
                <a:gd name="T13" fmla="*/ 2147483647 h 1616"/>
                <a:gd name="T14" fmla="*/ 2147483647 w 1064"/>
                <a:gd name="T15" fmla="*/ 2147483647 h 1616"/>
                <a:gd name="T16" fmla="*/ 2147483647 w 1064"/>
                <a:gd name="T17" fmla="*/ 2147483647 h 1616"/>
                <a:gd name="T18" fmla="*/ 2147483647 w 1064"/>
                <a:gd name="T19" fmla="*/ 2147483647 h 1616"/>
                <a:gd name="T20" fmla="*/ 2147483647 w 1064"/>
                <a:gd name="T21" fmla="*/ 2147483647 h 1616"/>
                <a:gd name="T22" fmla="*/ 2147483647 w 1064"/>
                <a:gd name="T23" fmla="*/ 2147483647 h 1616"/>
                <a:gd name="T24" fmla="*/ 2147483647 w 1064"/>
                <a:gd name="T25" fmla="*/ 2147483647 h 1616"/>
                <a:gd name="T26" fmla="*/ 2147483647 w 1064"/>
                <a:gd name="T27" fmla="*/ 2147483647 h 1616"/>
                <a:gd name="T28" fmla="*/ 2147483647 w 1064"/>
                <a:gd name="T29" fmla="*/ 2147483647 h 1616"/>
                <a:gd name="T30" fmla="*/ 2147483647 w 1064"/>
                <a:gd name="T31" fmla="*/ 2147483647 h 1616"/>
                <a:gd name="T32" fmla="*/ 2147483647 w 1064"/>
                <a:gd name="T33" fmla="*/ 2147483647 h 1616"/>
                <a:gd name="T34" fmla="*/ 2147483647 w 1064"/>
                <a:gd name="T35" fmla="*/ 2147483647 h 1616"/>
                <a:gd name="T36" fmla="*/ 2147483647 w 1064"/>
                <a:gd name="T37" fmla="*/ 0 h 1616"/>
                <a:gd name="T38" fmla="*/ 2147483647 w 1064"/>
                <a:gd name="T39" fmla="*/ 2147483647 h 1616"/>
                <a:gd name="T40" fmla="*/ 2147483647 w 1064"/>
                <a:gd name="T41" fmla="*/ 2147483647 h 1616"/>
                <a:gd name="T42" fmla="*/ 2147483647 w 1064"/>
                <a:gd name="T43" fmla="*/ 2147483647 h 1616"/>
                <a:gd name="T44" fmla="*/ 2147483647 w 1064"/>
                <a:gd name="T45" fmla="*/ 2147483647 h 1616"/>
                <a:gd name="T46" fmla="*/ 2147483647 w 1064"/>
                <a:gd name="T47" fmla="*/ 2147483647 h 1616"/>
                <a:gd name="T48" fmla="*/ 2147483647 w 1064"/>
                <a:gd name="T49" fmla="*/ 2147483647 h 1616"/>
                <a:gd name="T50" fmla="*/ 2147483647 w 1064"/>
                <a:gd name="T51" fmla="*/ 2147483647 h 1616"/>
                <a:gd name="T52" fmla="*/ 2147483647 w 1064"/>
                <a:gd name="T53" fmla="*/ 2147483647 h 1616"/>
                <a:gd name="T54" fmla="*/ 2147483647 w 1064"/>
                <a:gd name="T55" fmla="*/ 2147483647 h 1616"/>
                <a:gd name="T56" fmla="*/ 2147483647 w 1064"/>
                <a:gd name="T57" fmla="*/ 2147483647 h 1616"/>
                <a:gd name="T58" fmla="*/ 2147483647 w 1064"/>
                <a:gd name="T59" fmla="*/ 2147483647 h 1616"/>
                <a:gd name="T60" fmla="*/ 2147483647 w 1064"/>
                <a:gd name="T61" fmla="*/ 2147483647 h 1616"/>
                <a:gd name="T62" fmla="*/ 2147483647 w 1064"/>
                <a:gd name="T63" fmla="*/ 2147483647 h 1616"/>
                <a:gd name="T64" fmla="*/ 2147483647 w 1064"/>
                <a:gd name="T65" fmla="*/ 2147483647 h 1616"/>
                <a:gd name="T66" fmla="*/ 0 w 1064"/>
                <a:gd name="T67" fmla="*/ 2147483647 h 1616"/>
                <a:gd name="T68" fmla="*/ 2147483647 w 1064"/>
                <a:gd name="T69" fmla="*/ 2147483647 h 1616"/>
                <a:gd name="T70" fmla="*/ 2147483647 w 1064"/>
                <a:gd name="T71" fmla="*/ 2147483647 h 161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64"/>
                <a:gd name="T109" fmla="*/ 0 h 1616"/>
                <a:gd name="T110" fmla="*/ 1064 w 1064"/>
                <a:gd name="T111" fmla="*/ 1616 h 161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64" h="1616">
                  <a:moveTo>
                    <a:pt x="798" y="1616"/>
                  </a:moveTo>
                  <a:lnTo>
                    <a:pt x="803" y="1608"/>
                  </a:lnTo>
                  <a:lnTo>
                    <a:pt x="864" y="1512"/>
                  </a:lnTo>
                  <a:lnTo>
                    <a:pt x="915" y="1409"/>
                  </a:lnTo>
                  <a:lnTo>
                    <a:pt x="960" y="1307"/>
                  </a:lnTo>
                  <a:lnTo>
                    <a:pt x="998" y="1198"/>
                  </a:lnTo>
                  <a:lnTo>
                    <a:pt x="1026" y="1091"/>
                  </a:lnTo>
                  <a:lnTo>
                    <a:pt x="1045" y="978"/>
                  </a:lnTo>
                  <a:lnTo>
                    <a:pt x="1058" y="865"/>
                  </a:lnTo>
                  <a:lnTo>
                    <a:pt x="1061" y="789"/>
                  </a:lnTo>
                  <a:lnTo>
                    <a:pt x="1064" y="755"/>
                  </a:lnTo>
                  <a:lnTo>
                    <a:pt x="1061" y="662"/>
                  </a:lnTo>
                  <a:lnTo>
                    <a:pt x="1058" y="642"/>
                  </a:lnTo>
                  <a:lnTo>
                    <a:pt x="1045" y="529"/>
                  </a:lnTo>
                  <a:lnTo>
                    <a:pt x="1026" y="421"/>
                  </a:lnTo>
                  <a:lnTo>
                    <a:pt x="998" y="309"/>
                  </a:lnTo>
                  <a:lnTo>
                    <a:pt x="960" y="206"/>
                  </a:lnTo>
                  <a:lnTo>
                    <a:pt x="918" y="101"/>
                  </a:lnTo>
                  <a:lnTo>
                    <a:pt x="866" y="0"/>
                  </a:lnTo>
                  <a:lnTo>
                    <a:pt x="461" y="218"/>
                  </a:lnTo>
                  <a:lnTo>
                    <a:pt x="41" y="441"/>
                  </a:lnTo>
                  <a:lnTo>
                    <a:pt x="50" y="459"/>
                  </a:lnTo>
                  <a:lnTo>
                    <a:pt x="80" y="526"/>
                  </a:lnTo>
                  <a:lnTo>
                    <a:pt x="101" y="598"/>
                  </a:lnTo>
                  <a:lnTo>
                    <a:pt x="111" y="667"/>
                  </a:lnTo>
                  <a:lnTo>
                    <a:pt x="111" y="672"/>
                  </a:lnTo>
                  <a:lnTo>
                    <a:pt x="116" y="742"/>
                  </a:lnTo>
                  <a:lnTo>
                    <a:pt x="113" y="782"/>
                  </a:lnTo>
                  <a:lnTo>
                    <a:pt x="111" y="819"/>
                  </a:lnTo>
                  <a:lnTo>
                    <a:pt x="101" y="892"/>
                  </a:lnTo>
                  <a:lnTo>
                    <a:pt x="80" y="963"/>
                  </a:lnTo>
                  <a:lnTo>
                    <a:pt x="50" y="1035"/>
                  </a:lnTo>
                  <a:lnTo>
                    <a:pt x="12" y="1098"/>
                  </a:lnTo>
                  <a:lnTo>
                    <a:pt x="0" y="1115"/>
                  </a:lnTo>
                  <a:lnTo>
                    <a:pt x="351" y="1331"/>
                  </a:lnTo>
                  <a:lnTo>
                    <a:pt x="798" y="1616"/>
                  </a:lnTo>
                </a:path>
              </a:pathLst>
            </a:custGeom>
            <a:solidFill>
              <a:schemeClr val="accent1"/>
            </a:solidFill>
            <a:ln w="76200" cap="rnd">
              <a:solidFill>
                <a:schemeClr val="bg2"/>
              </a:solidFill>
              <a:round/>
              <a:headEnd/>
              <a:tailEnd/>
            </a:ln>
          </p:spPr>
          <p:txBody>
            <a:bodyPr wrap="none" lIns="0" tIns="0" rIns="0" bIns="0" anchor="ctr" anchorCtr="1">
              <a:spAutoFit/>
            </a:bodyPr>
            <a:lstStyle/>
            <a:p>
              <a:endParaRPr lang="el-GR" dirty="0"/>
            </a:p>
          </p:txBody>
        </p:sp>
        <p:sp>
          <p:nvSpPr>
            <p:cNvPr id="2058" name="Freeform 8"/>
            <p:cNvSpPr>
              <a:spLocks/>
            </p:cNvSpPr>
            <p:nvPr>
              <p:custDataLst>
                <p:tags r:id="rId8"/>
              </p:custDataLst>
            </p:nvPr>
          </p:nvSpPr>
          <p:spPr bwMode="auto">
            <a:xfrm>
              <a:off x="3852863" y="1096963"/>
              <a:ext cx="2093912" cy="1870075"/>
            </a:xfrm>
            <a:custGeom>
              <a:avLst/>
              <a:gdLst>
                <a:gd name="T0" fmla="*/ 0 w 1423"/>
                <a:gd name="T1" fmla="*/ 2147483647 h 1270"/>
                <a:gd name="T2" fmla="*/ 2147483647 w 1423"/>
                <a:gd name="T3" fmla="*/ 2147483647 h 1270"/>
                <a:gd name="T4" fmla="*/ 2147483647 w 1423"/>
                <a:gd name="T5" fmla="*/ 2147483647 h 1270"/>
                <a:gd name="T6" fmla="*/ 2147483647 w 1423"/>
                <a:gd name="T7" fmla="*/ 2147483647 h 1270"/>
                <a:gd name="T8" fmla="*/ 2147483647 w 1423"/>
                <a:gd name="T9" fmla="*/ 2147483647 h 1270"/>
                <a:gd name="T10" fmla="*/ 2147483647 w 1423"/>
                <a:gd name="T11" fmla="*/ 2147483647 h 1270"/>
                <a:gd name="T12" fmla="*/ 2147483647 w 1423"/>
                <a:gd name="T13" fmla="*/ 2147483647 h 1270"/>
                <a:gd name="T14" fmla="*/ 2147483647 w 1423"/>
                <a:gd name="T15" fmla="*/ 2147483647 h 1270"/>
                <a:gd name="T16" fmla="*/ 2147483647 w 1423"/>
                <a:gd name="T17" fmla="*/ 2147483647 h 1270"/>
                <a:gd name="T18" fmla="*/ 2147483647 w 1423"/>
                <a:gd name="T19" fmla="*/ 2147483647 h 1270"/>
                <a:gd name="T20" fmla="*/ 2147483647 w 1423"/>
                <a:gd name="T21" fmla="*/ 2147483647 h 1270"/>
                <a:gd name="T22" fmla="*/ 2147483647 w 1423"/>
                <a:gd name="T23" fmla="*/ 2147483647 h 1270"/>
                <a:gd name="T24" fmla="*/ 2147483647 w 1423"/>
                <a:gd name="T25" fmla="*/ 2147483647 h 1270"/>
                <a:gd name="T26" fmla="*/ 2147483647 w 1423"/>
                <a:gd name="T27" fmla="*/ 2147483647 h 1270"/>
                <a:gd name="T28" fmla="*/ 2147483647 w 1423"/>
                <a:gd name="T29" fmla="*/ 2147483647 h 1270"/>
                <a:gd name="T30" fmla="*/ 2147483647 w 1423"/>
                <a:gd name="T31" fmla="*/ 0 h 1270"/>
                <a:gd name="T32" fmla="*/ 2147483647 w 1423"/>
                <a:gd name="T33" fmla="*/ 2147483647 h 1270"/>
                <a:gd name="T34" fmla="*/ 2147483647 w 1423"/>
                <a:gd name="T35" fmla="*/ 2147483647 h 1270"/>
                <a:gd name="T36" fmla="*/ 2147483647 w 1423"/>
                <a:gd name="T37" fmla="*/ 2147483647 h 1270"/>
                <a:gd name="T38" fmla="*/ 2147483647 w 1423"/>
                <a:gd name="T39" fmla="*/ 2147483647 h 1270"/>
                <a:gd name="T40" fmla="*/ 2147483647 w 1423"/>
                <a:gd name="T41" fmla="*/ 2147483647 h 1270"/>
                <a:gd name="T42" fmla="*/ 2147483647 w 1423"/>
                <a:gd name="T43" fmla="*/ 2147483647 h 1270"/>
                <a:gd name="T44" fmla="*/ 2147483647 w 1423"/>
                <a:gd name="T45" fmla="*/ 2147483647 h 1270"/>
                <a:gd name="T46" fmla="*/ 2147483647 w 1423"/>
                <a:gd name="T47" fmla="*/ 2147483647 h 1270"/>
                <a:gd name="T48" fmla="*/ 2147483647 w 1423"/>
                <a:gd name="T49" fmla="*/ 2147483647 h 1270"/>
                <a:gd name="T50" fmla="*/ 2147483647 w 1423"/>
                <a:gd name="T51" fmla="*/ 2147483647 h 1270"/>
                <a:gd name="T52" fmla="*/ 2147483647 w 1423"/>
                <a:gd name="T53" fmla="*/ 2147483647 h 1270"/>
                <a:gd name="T54" fmla="*/ 2147483647 w 1423"/>
                <a:gd name="T55" fmla="*/ 2147483647 h 1270"/>
                <a:gd name="T56" fmla="*/ 2147483647 w 1423"/>
                <a:gd name="T57" fmla="*/ 2147483647 h 1270"/>
                <a:gd name="T58" fmla="*/ 2147483647 w 1423"/>
                <a:gd name="T59" fmla="*/ 2147483647 h 1270"/>
                <a:gd name="T60" fmla="*/ 0 w 1423"/>
                <a:gd name="T61" fmla="*/ 2147483647 h 12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423"/>
                <a:gd name="T94" fmla="*/ 0 h 1270"/>
                <a:gd name="T95" fmla="*/ 1423 w 1423"/>
                <a:gd name="T96" fmla="*/ 1270 h 12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423" h="1270">
                  <a:moveTo>
                    <a:pt x="0" y="757"/>
                  </a:moveTo>
                  <a:lnTo>
                    <a:pt x="330" y="952"/>
                  </a:lnTo>
                  <a:lnTo>
                    <a:pt x="777" y="1270"/>
                  </a:lnTo>
                  <a:lnTo>
                    <a:pt x="796" y="1231"/>
                  </a:lnTo>
                  <a:lnTo>
                    <a:pt x="840" y="1170"/>
                  </a:lnTo>
                  <a:lnTo>
                    <a:pt x="887" y="1114"/>
                  </a:lnTo>
                  <a:lnTo>
                    <a:pt x="940" y="1064"/>
                  </a:lnTo>
                  <a:lnTo>
                    <a:pt x="1002" y="1021"/>
                  </a:lnTo>
                  <a:lnTo>
                    <a:pt x="1065" y="981"/>
                  </a:lnTo>
                  <a:lnTo>
                    <a:pt x="1129" y="952"/>
                  </a:lnTo>
                  <a:lnTo>
                    <a:pt x="1200" y="927"/>
                  </a:lnTo>
                  <a:lnTo>
                    <a:pt x="1277" y="912"/>
                  </a:lnTo>
                  <a:lnTo>
                    <a:pt x="1349" y="902"/>
                  </a:lnTo>
                  <a:lnTo>
                    <a:pt x="1423" y="902"/>
                  </a:lnTo>
                  <a:lnTo>
                    <a:pt x="1418" y="506"/>
                  </a:lnTo>
                  <a:lnTo>
                    <a:pt x="1418" y="0"/>
                  </a:lnTo>
                  <a:lnTo>
                    <a:pt x="1302" y="3"/>
                  </a:lnTo>
                  <a:lnTo>
                    <a:pt x="1183" y="13"/>
                  </a:lnTo>
                  <a:lnTo>
                    <a:pt x="1066" y="32"/>
                  </a:lnTo>
                  <a:lnTo>
                    <a:pt x="953" y="59"/>
                  </a:lnTo>
                  <a:lnTo>
                    <a:pt x="842" y="93"/>
                  </a:lnTo>
                  <a:lnTo>
                    <a:pt x="733" y="135"/>
                  </a:lnTo>
                  <a:lnTo>
                    <a:pt x="625" y="186"/>
                  </a:lnTo>
                  <a:lnTo>
                    <a:pt x="524" y="243"/>
                  </a:lnTo>
                  <a:lnTo>
                    <a:pt x="428" y="307"/>
                  </a:lnTo>
                  <a:lnTo>
                    <a:pt x="334" y="378"/>
                  </a:lnTo>
                  <a:lnTo>
                    <a:pt x="246" y="453"/>
                  </a:lnTo>
                  <a:lnTo>
                    <a:pt x="165" y="539"/>
                  </a:lnTo>
                  <a:lnTo>
                    <a:pt x="92" y="627"/>
                  </a:lnTo>
                  <a:lnTo>
                    <a:pt x="24" y="720"/>
                  </a:lnTo>
                  <a:lnTo>
                    <a:pt x="0" y="757"/>
                  </a:lnTo>
                </a:path>
              </a:pathLst>
            </a:custGeom>
            <a:solidFill>
              <a:schemeClr val="accent1"/>
            </a:solidFill>
            <a:ln w="76200" cap="rnd">
              <a:solidFill>
                <a:schemeClr val="bg2"/>
              </a:solidFill>
              <a:round/>
              <a:headEnd/>
              <a:tailEnd/>
            </a:ln>
          </p:spPr>
          <p:txBody>
            <a:bodyPr wrap="none" lIns="0" tIns="0" rIns="0" bIns="0" anchor="ctr" anchorCtr="1">
              <a:spAutoFit/>
            </a:bodyPr>
            <a:lstStyle/>
            <a:p>
              <a:endParaRPr lang="el-GR" dirty="0"/>
            </a:p>
          </p:txBody>
        </p:sp>
        <p:sp>
          <p:nvSpPr>
            <p:cNvPr id="2059" name="Freeform 9"/>
            <p:cNvSpPr>
              <a:spLocks/>
            </p:cNvSpPr>
            <p:nvPr>
              <p:custDataLst>
                <p:tags r:id="rId9"/>
              </p:custDataLst>
            </p:nvPr>
          </p:nvSpPr>
          <p:spPr bwMode="auto">
            <a:xfrm>
              <a:off x="3841750" y="3960813"/>
              <a:ext cx="2078038" cy="1803400"/>
            </a:xfrm>
            <a:custGeom>
              <a:avLst/>
              <a:gdLst>
                <a:gd name="T0" fmla="*/ 0 w 1412"/>
                <a:gd name="T1" fmla="*/ 2147483647 h 1225"/>
                <a:gd name="T2" fmla="*/ 2147483647 w 1412"/>
                <a:gd name="T3" fmla="*/ 2147483647 h 1225"/>
                <a:gd name="T4" fmla="*/ 2147483647 w 1412"/>
                <a:gd name="T5" fmla="*/ 2147483647 h 1225"/>
                <a:gd name="T6" fmla="*/ 2147483647 w 1412"/>
                <a:gd name="T7" fmla="*/ 2147483647 h 1225"/>
                <a:gd name="T8" fmla="*/ 2147483647 w 1412"/>
                <a:gd name="T9" fmla="*/ 2147483647 h 1225"/>
                <a:gd name="T10" fmla="*/ 2147483647 w 1412"/>
                <a:gd name="T11" fmla="*/ 2147483647 h 1225"/>
                <a:gd name="T12" fmla="*/ 2147483647 w 1412"/>
                <a:gd name="T13" fmla="*/ 2147483647 h 1225"/>
                <a:gd name="T14" fmla="*/ 2147483647 w 1412"/>
                <a:gd name="T15" fmla="*/ 2147483647 h 1225"/>
                <a:gd name="T16" fmla="*/ 2147483647 w 1412"/>
                <a:gd name="T17" fmla="*/ 2147483647 h 1225"/>
                <a:gd name="T18" fmla="*/ 2147483647 w 1412"/>
                <a:gd name="T19" fmla="*/ 2147483647 h 1225"/>
                <a:gd name="T20" fmla="*/ 2147483647 w 1412"/>
                <a:gd name="T21" fmla="*/ 2147483647 h 1225"/>
                <a:gd name="T22" fmla="*/ 2147483647 w 1412"/>
                <a:gd name="T23" fmla="*/ 2147483647 h 1225"/>
                <a:gd name="T24" fmla="*/ 2147483647 w 1412"/>
                <a:gd name="T25" fmla="*/ 2147483647 h 1225"/>
                <a:gd name="T26" fmla="*/ 2147483647 w 1412"/>
                <a:gd name="T27" fmla="*/ 2147483647 h 1225"/>
                <a:gd name="T28" fmla="*/ 2147483647 w 1412"/>
                <a:gd name="T29" fmla="*/ 2147483647 h 1225"/>
                <a:gd name="T30" fmla="*/ 2147483647 w 1412"/>
                <a:gd name="T31" fmla="*/ 2147483647 h 1225"/>
                <a:gd name="T32" fmla="*/ 2147483647 w 1412"/>
                <a:gd name="T33" fmla="*/ 2147483647 h 1225"/>
                <a:gd name="T34" fmla="*/ 2147483647 w 1412"/>
                <a:gd name="T35" fmla="*/ 2147483647 h 1225"/>
                <a:gd name="T36" fmla="*/ 2147483647 w 1412"/>
                <a:gd name="T37" fmla="*/ 2147483647 h 1225"/>
                <a:gd name="T38" fmla="*/ 2147483647 w 1412"/>
                <a:gd name="T39" fmla="*/ 2147483647 h 1225"/>
                <a:gd name="T40" fmla="*/ 2147483647 w 1412"/>
                <a:gd name="T41" fmla="*/ 2147483647 h 1225"/>
                <a:gd name="T42" fmla="*/ 2147483647 w 1412"/>
                <a:gd name="T43" fmla="*/ 2147483647 h 1225"/>
                <a:gd name="T44" fmla="*/ 2147483647 w 1412"/>
                <a:gd name="T45" fmla="*/ 2147483647 h 1225"/>
                <a:gd name="T46" fmla="*/ 2147483647 w 1412"/>
                <a:gd name="T47" fmla="*/ 2147483647 h 1225"/>
                <a:gd name="T48" fmla="*/ 2147483647 w 1412"/>
                <a:gd name="T49" fmla="*/ 2147483647 h 1225"/>
                <a:gd name="T50" fmla="*/ 2147483647 w 1412"/>
                <a:gd name="T51" fmla="*/ 2147483647 h 1225"/>
                <a:gd name="T52" fmla="*/ 2147483647 w 1412"/>
                <a:gd name="T53" fmla="*/ 2147483647 h 1225"/>
                <a:gd name="T54" fmla="*/ 2147483647 w 1412"/>
                <a:gd name="T55" fmla="*/ 0 h 1225"/>
                <a:gd name="T56" fmla="*/ 2147483647 w 1412"/>
                <a:gd name="T57" fmla="*/ 2147483647 h 1225"/>
                <a:gd name="T58" fmla="*/ 0 w 1412"/>
                <a:gd name="T59" fmla="*/ 2147483647 h 122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12"/>
                <a:gd name="T91" fmla="*/ 0 h 1225"/>
                <a:gd name="T92" fmla="*/ 1412 w 1412"/>
                <a:gd name="T93" fmla="*/ 1225 h 1225"/>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12" h="1225">
                  <a:moveTo>
                    <a:pt x="0" y="451"/>
                  </a:moveTo>
                  <a:lnTo>
                    <a:pt x="29" y="498"/>
                  </a:lnTo>
                  <a:lnTo>
                    <a:pt x="94" y="591"/>
                  </a:lnTo>
                  <a:lnTo>
                    <a:pt x="167" y="679"/>
                  </a:lnTo>
                  <a:lnTo>
                    <a:pt x="251" y="762"/>
                  </a:lnTo>
                  <a:lnTo>
                    <a:pt x="334" y="841"/>
                  </a:lnTo>
                  <a:lnTo>
                    <a:pt x="425" y="912"/>
                  </a:lnTo>
                  <a:lnTo>
                    <a:pt x="524" y="975"/>
                  </a:lnTo>
                  <a:lnTo>
                    <a:pt x="625" y="1032"/>
                  </a:lnTo>
                  <a:lnTo>
                    <a:pt x="729" y="1084"/>
                  </a:lnTo>
                  <a:lnTo>
                    <a:pt x="837" y="1125"/>
                  </a:lnTo>
                  <a:lnTo>
                    <a:pt x="947" y="1162"/>
                  </a:lnTo>
                  <a:lnTo>
                    <a:pt x="1062" y="1189"/>
                  </a:lnTo>
                  <a:lnTo>
                    <a:pt x="1178" y="1210"/>
                  </a:lnTo>
                  <a:lnTo>
                    <a:pt x="1292" y="1221"/>
                  </a:lnTo>
                  <a:lnTo>
                    <a:pt x="1411" y="1225"/>
                  </a:lnTo>
                  <a:lnTo>
                    <a:pt x="1412" y="728"/>
                  </a:lnTo>
                  <a:lnTo>
                    <a:pt x="1408" y="300"/>
                  </a:lnTo>
                  <a:lnTo>
                    <a:pt x="1334" y="299"/>
                  </a:lnTo>
                  <a:lnTo>
                    <a:pt x="1263" y="292"/>
                  </a:lnTo>
                  <a:lnTo>
                    <a:pt x="1194" y="272"/>
                  </a:lnTo>
                  <a:lnTo>
                    <a:pt x="1125" y="245"/>
                  </a:lnTo>
                  <a:lnTo>
                    <a:pt x="1059" y="216"/>
                  </a:lnTo>
                  <a:lnTo>
                    <a:pt x="996" y="176"/>
                  </a:lnTo>
                  <a:lnTo>
                    <a:pt x="941" y="133"/>
                  </a:lnTo>
                  <a:lnTo>
                    <a:pt x="887" y="83"/>
                  </a:lnTo>
                  <a:lnTo>
                    <a:pt x="842" y="27"/>
                  </a:lnTo>
                  <a:lnTo>
                    <a:pt x="822" y="0"/>
                  </a:lnTo>
                  <a:lnTo>
                    <a:pt x="312" y="249"/>
                  </a:lnTo>
                  <a:lnTo>
                    <a:pt x="0" y="451"/>
                  </a:lnTo>
                </a:path>
              </a:pathLst>
            </a:custGeom>
            <a:solidFill>
              <a:schemeClr val="accent1"/>
            </a:solidFill>
            <a:ln w="76200" cap="rnd">
              <a:solidFill>
                <a:schemeClr val="bg2"/>
              </a:solidFill>
              <a:round/>
              <a:headEnd/>
              <a:tailEnd/>
            </a:ln>
          </p:spPr>
          <p:txBody>
            <a:bodyPr wrap="none" lIns="0" tIns="0" rIns="0" bIns="0" anchor="ctr" anchorCtr="1">
              <a:spAutoFit/>
            </a:bodyPr>
            <a:lstStyle/>
            <a:p>
              <a:endParaRPr lang="el-GR" dirty="0"/>
            </a:p>
          </p:txBody>
        </p:sp>
        <p:sp>
          <p:nvSpPr>
            <p:cNvPr id="2060" name="Rectangle 10"/>
            <p:cNvSpPr>
              <a:spLocks noChangeArrowheads="1"/>
            </p:cNvSpPr>
            <p:nvPr>
              <p:custDataLst>
                <p:tags r:id="rId10"/>
              </p:custDataLst>
            </p:nvPr>
          </p:nvSpPr>
          <p:spPr bwMode="auto">
            <a:xfrm>
              <a:off x="6421438" y="1862138"/>
              <a:ext cx="1193800" cy="244475"/>
            </a:xfrm>
            <a:prstGeom prst="rect">
              <a:avLst/>
            </a:prstGeom>
            <a:noFill/>
            <a:ln w="9525">
              <a:noFill/>
              <a:miter lim="800000"/>
              <a:headEnd/>
              <a:tailEnd/>
            </a:ln>
          </p:spPr>
          <p:txBody>
            <a:bodyPr lIns="0" tIns="0" rIns="0" bIns="0" anchor="ctr" anchorCtr="1">
              <a:spAutoFit/>
            </a:bodyPr>
            <a:lstStyle/>
            <a:p>
              <a:pPr algn="ctr" defTabSz="787400">
                <a:buSzPct val="120000"/>
              </a:pPr>
              <a:r>
                <a:rPr lang="el-GR" b="1" dirty="0"/>
                <a:t>Φαρμακεία</a:t>
              </a:r>
              <a:endParaRPr lang="en-GB" b="1" dirty="0"/>
            </a:p>
          </p:txBody>
        </p:sp>
        <p:sp>
          <p:nvSpPr>
            <p:cNvPr id="2061" name="Rectangle 11"/>
            <p:cNvSpPr>
              <a:spLocks noChangeArrowheads="1"/>
            </p:cNvSpPr>
            <p:nvPr>
              <p:custDataLst>
                <p:tags r:id="rId11"/>
              </p:custDataLst>
            </p:nvPr>
          </p:nvSpPr>
          <p:spPr bwMode="auto">
            <a:xfrm>
              <a:off x="7024688" y="3284538"/>
              <a:ext cx="1204912" cy="488950"/>
            </a:xfrm>
            <a:prstGeom prst="rect">
              <a:avLst/>
            </a:prstGeom>
            <a:noFill/>
            <a:ln w="9525">
              <a:noFill/>
              <a:miter lim="800000"/>
              <a:headEnd/>
              <a:tailEnd/>
            </a:ln>
          </p:spPr>
          <p:txBody>
            <a:bodyPr lIns="0" tIns="0" rIns="0" bIns="0" anchor="ctr" anchorCtr="1">
              <a:spAutoFit/>
            </a:bodyPr>
            <a:lstStyle/>
            <a:p>
              <a:pPr algn="ctr" defTabSz="787400">
                <a:buSzPct val="120000"/>
              </a:pPr>
              <a:r>
                <a:rPr lang="el-GR" b="1" dirty="0"/>
                <a:t>Κλινικά Εργαστήρια</a:t>
              </a:r>
              <a:endParaRPr lang="en-GB" b="1" dirty="0"/>
            </a:p>
          </p:txBody>
        </p:sp>
        <p:sp>
          <p:nvSpPr>
            <p:cNvPr id="2062" name="Rectangle 12"/>
            <p:cNvSpPr>
              <a:spLocks noChangeArrowheads="1"/>
            </p:cNvSpPr>
            <p:nvPr>
              <p:custDataLst>
                <p:tags r:id="rId12"/>
              </p:custDataLst>
            </p:nvPr>
          </p:nvSpPr>
          <p:spPr bwMode="auto">
            <a:xfrm>
              <a:off x="6184900" y="4714875"/>
              <a:ext cx="1401763" cy="246063"/>
            </a:xfrm>
            <a:prstGeom prst="rect">
              <a:avLst/>
            </a:prstGeom>
            <a:noFill/>
            <a:ln w="9525">
              <a:noFill/>
              <a:miter lim="800000"/>
              <a:headEnd/>
              <a:tailEnd/>
            </a:ln>
          </p:spPr>
          <p:txBody>
            <a:bodyPr lIns="0" tIns="0" rIns="0" bIns="0" anchor="ctr" anchorCtr="1">
              <a:spAutoFit/>
            </a:bodyPr>
            <a:lstStyle/>
            <a:p>
              <a:pPr defTabSz="787400">
                <a:buSzPct val="120000"/>
              </a:pPr>
              <a:r>
                <a:rPr lang="el-GR" b="1" dirty="0"/>
                <a:t>Νοσηλευτήρια</a:t>
              </a:r>
              <a:endParaRPr lang="en-GB" b="1" dirty="0"/>
            </a:p>
          </p:txBody>
        </p:sp>
        <p:sp>
          <p:nvSpPr>
            <p:cNvPr id="2063" name="Rectangle 13"/>
            <p:cNvSpPr>
              <a:spLocks noChangeArrowheads="1"/>
            </p:cNvSpPr>
            <p:nvPr>
              <p:custDataLst>
                <p:tags r:id="rId13"/>
              </p:custDataLst>
            </p:nvPr>
          </p:nvSpPr>
          <p:spPr bwMode="auto">
            <a:xfrm>
              <a:off x="4595813" y="4414838"/>
              <a:ext cx="1039812" cy="923925"/>
            </a:xfrm>
            <a:prstGeom prst="rect">
              <a:avLst/>
            </a:prstGeom>
            <a:noFill/>
            <a:ln w="9525">
              <a:noFill/>
              <a:miter lim="800000"/>
              <a:headEnd/>
              <a:tailEnd/>
            </a:ln>
          </p:spPr>
          <p:txBody>
            <a:bodyPr lIns="0" tIns="0" rIns="0" bIns="0" anchor="ctr" anchorCtr="1">
              <a:spAutoFit/>
            </a:bodyPr>
            <a:lstStyle/>
            <a:p>
              <a:pPr algn="ctr" defTabSz="787400">
                <a:buSzPct val="120000"/>
              </a:pPr>
              <a:r>
                <a:rPr lang="el-GR" sz="1200" b="1" dirty="0"/>
                <a:t>Τμήματα Ατυχημάτων και Επειγόντων Περιστατικών</a:t>
              </a:r>
              <a:endParaRPr lang="en-GB" sz="1200" b="1" dirty="0"/>
            </a:p>
          </p:txBody>
        </p:sp>
        <p:sp>
          <p:nvSpPr>
            <p:cNvPr id="2064" name="Rectangle 14"/>
            <p:cNvSpPr>
              <a:spLocks noChangeArrowheads="1"/>
            </p:cNvSpPr>
            <p:nvPr>
              <p:custDataLst>
                <p:tags r:id="rId14"/>
              </p:custDataLst>
            </p:nvPr>
          </p:nvSpPr>
          <p:spPr bwMode="auto">
            <a:xfrm>
              <a:off x="3510885" y="3034821"/>
              <a:ext cx="1508125" cy="646112"/>
            </a:xfrm>
            <a:prstGeom prst="rect">
              <a:avLst/>
            </a:prstGeom>
            <a:noFill/>
            <a:ln w="9525">
              <a:noFill/>
              <a:miter lim="800000"/>
              <a:headEnd/>
              <a:tailEnd/>
            </a:ln>
          </p:spPr>
          <p:txBody>
            <a:bodyPr lIns="0" tIns="0" rIns="0" bIns="0" anchor="ctr" anchorCtr="1">
              <a:spAutoFit/>
            </a:bodyPr>
            <a:lstStyle/>
            <a:p>
              <a:pPr algn="ctr" defTabSz="787400">
                <a:buSzPct val="120000"/>
              </a:pPr>
              <a:r>
                <a:rPr lang="el-GR" sz="1400" b="1" dirty="0"/>
                <a:t>Άλλοι Επαγγελματίες Υγείας </a:t>
              </a:r>
              <a:endParaRPr lang="en-GB" sz="1400" b="1" dirty="0"/>
            </a:p>
          </p:txBody>
        </p:sp>
        <p:sp>
          <p:nvSpPr>
            <p:cNvPr id="2065" name="Rectangle 15"/>
            <p:cNvSpPr>
              <a:spLocks noChangeArrowheads="1"/>
            </p:cNvSpPr>
            <p:nvPr>
              <p:custDataLst>
                <p:tags r:id="rId15"/>
              </p:custDataLst>
            </p:nvPr>
          </p:nvSpPr>
          <p:spPr bwMode="auto">
            <a:xfrm>
              <a:off x="4595813" y="1739900"/>
              <a:ext cx="925512" cy="488950"/>
            </a:xfrm>
            <a:prstGeom prst="rect">
              <a:avLst/>
            </a:prstGeom>
            <a:noFill/>
            <a:ln w="9525">
              <a:noFill/>
              <a:miter lim="800000"/>
              <a:headEnd/>
              <a:tailEnd/>
            </a:ln>
          </p:spPr>
          <p:txBody>
            <a:bodyPr lIns="0" tIns="0" rIns="0" bIns="0" anchor="ctr" anchorCtr="1">
              <a:spAutoFit/>
            </a:bodyPr>
            <a:lstStyle/>
            <a:p>
              <a:pPr algn="ctr" defTabSz="787400">
                <a:buSzPct val="120000"/>
              </a:pPr>
              <a:r>
                <a:rPr lang="el-GR" b="1" dirty="0"/>
                <a:t>Ειδικοί Ιατροί</a:t>
              </a:r>
              <a:endParaRPr lang="en-GB" b="1" dirty="0"/>
            </a:p>
          </p:txBody>
        </p:sp>
        <p:sp>
          <p:nvSpPr>
            <p:cNvPr id="2066" name="AutoShape 17"/>
            <p:cNvSpPr>
              <a:spLocks noChangeArrowheads="1"/>
            </p:cNvSpPr>
            <p:nvPr>
              <p:custDataLst>
                <p:tags r:id="rId16"/>
              </p:custDataLst>
            </p:nvPr>
          </p:nvSpPr>
          <p:spPr bwMode="auto">
            <a:xfrm rot="3594346">
              <a:off x="4197350" y="4117975"/>
              <a:ext cx="466725" cy="301625"/>
            </a:xfrm>
            <a:prstGeom prst="leftRightArrow">
              <a:avLst>
                <a:gd name="adj1" fmla="val 50000"/>
                <a:gd name="adj2" fmla="val 46715"/>
              </a:avLst>
            </a:prstGeom>
            <a:solidFill>
              <a:schemeClr val="folHlink"/>
            </a:solidFill>
            <a:ln w="9525">
              <a:solidFill>
                <a:schemeClr val="folHlink"/>
              </a:solidFill>
              <a:miter lim="800000"/>
              <a:headEnd/>
              <a:tailEnd/>
            </a:ln>
          </p:spPr>
          <p:txBody>
            <a:bodyPr rot="10800000" vert="eaVert" wrap="none" anchor="ctr"/>
            <a:lstStyle/>
            <a:p>
              <a:pPr algn="ctr"/>
              <a:endParaRPr lang="en-GB" dirty="0"/>
            </a:p>
          </p:txBody>
        </p:sp>
        <p:sp>
          <p:nvSpPr>
            <p:cNvPr id="2067" name="AutoShape 18"/>
            <p:cNvSpPr>
              <a:spLocks noChangeArrowheads="1"/>
            </p:cNvSpPr>
            <p:nvPr>
              <p:custDataLst>
                <p:tags r:id="rId17"/>
              </p:custDataLst>
            </p:nvPr>
          </p:nvSpPr>
          <p:spPr bwMode="auto">
            <a:xfrm rot="7498907">
              <a:off x="4219576" y="2435225"/>
              <a:ext cx="468312" cy="300037"/>
            </a:xfrm>
            <a:prstGeom prst="leftRightArrow">
              <a:avLst>
                <a:gd name="adj1" fmla="val 50000"/>
                <a:gd name="adj2" fmla="val 47122"/>
              </a:avLst>
            </a:prstGeom>
            <a:solidFill>
              <a:schemeClr val="folHlink"/>
            </a:solidFill>
            <a:ln w="9525">
              <a:solidFill>
                <a:schemeClr val="folHlink"/>
              </a:solidFill>
              <a:miter lim="800000"/>
              <a:headEnd/>
              <a:tailEnd/>
            </a:ln>
          </p:spPr>
          <p:txBody>
            <a:bodyPr rot="10800000" vert="eaVert" wrap="none" anchor="ctr"/>
            <a:lstStyle/>
            <a:p>
              <a:pPr algn="ctr"/>
              <a:endParaRPr lang="en-GB" dirty="0"/>
            </a:p>
          </p:txBody>
        </p:sp>
        <p:sp>
          <p:nvSpPr>
            <p:cNvPr id="2068" name="AutoShape 19"/>
            <p:cNvSpPr>
              <a:spLocks noChangeArrowheads="1"/>
            </p:cNvSpPr>
            <p:nvPr>
              <p:custDataLst>
                <p:tags r:id="rId18"/>
              </p:custDataLst>
            </p:nvPr>
          </p:nvSpPr>
          <p:spPr bwMode="auto">
            <a:xfrm rot="-144244">
              <a:off x="5689600" y="4900613"/>
              <a:ext cx="468313" cy="300037"/>
            </a:xfrm>
            <a:prstGeom prst="leftRightArrow">
              <a:avLst>
                <a:gd name="adj1" fmla="val 50000"/>
                <a:gd name="adj2" fmla="val 47122"/>
              </a:avLst>
            </a:prstGeom>
            <a:solidFill>
              <a:schemeClr val="folHlink"/>
            </a:solidFill>
            <a:ln w="9525">
              <a:solidFill>
                <a:schemeClr val="folHlink"/>
              </a:solidFill>
              <a:miter lim="800000"/>
              <a:headEnd/>
              <a:tailEnd/>
            </a:ln>
          </p:spPr>
          <p:txBody>
            <a:bodyPr wrap="none" anchor="ctr"/>
            <a:lstStyle/>
            <a:p>
              <a:pPr algn="ctr"/>
              <a:endParaRPr lang="en-GB" dirty="0"/>
            </a:p>
          </p:txBody>
        </p:sp>
        <p:sp>
          <p:nvSpPr>
            <p:cNvPr id="2069" name="AutoShape 20"/>
            <p:cNvSpPr>
              <a:spLocks noChangeArrowheads="1"/>
            </p:cNvSpPr>
            <p:nvPr>
              <p:custDataLst>
                <p:tags r:id="rId19"/>
              </p:custDataLst>
            </p:nvPr>
          </p:nvSpPr>
          <p:spPr bwMode="auto">
            <a:xfrm rot="10800000">
              <a:off x="5702300" y="1592263"/>
              <a:ext cx="468313" cy="300037"/>
            </a:xfrm>
            <a:prstGeom prst="leftRightArrow">
              <a:avLst>
                <a:gd name="adj1" fmla="val 50000"/>
                <a:gd name="adj2" fmla="val 47122"/>
              </a:avLst>
            </a:prstGeom>
            <a:solidFill>
              <a:schemeClr val="folHlink"/>
            </a:solidFill>
            <a:ln w="9525">
              <a:solidFill>
                <a:schemeClr val="folHlink"/>
              </a:solidFill>
              <a:miter lim="800000"/>
              <a:headEnd/>
              <a:tailEnd/>
            </a:ln>
          </p:spPr>
          <p:txBody>
            <a:bodyPr rot="10800000" wrap="none" anchor="ctr"/>
            <a:lstStyle/>
            <a:p>
              <a:pPr algn="ctr"/>
              <a:endParaRPr lang="en-GB" dirty="0"/>
            </a:p>
          </p:txBody>
        </p:sp>
        <p:sp>
          <p:nvSpPr>
            <p:cNvPr id="2070" name="AutoShape 21"/>
            <p:cNvSpPr>
              <a:spLocks noChangeArrowheads="1"/>
            </p:cNvSpPr>
            <p:nvPr>
              <p:custDataLst>
                <p:tags r:id="rId20"/>
              </p:custDataLst>
            </p:nvPr>
          </p:nvSpPr>
          <p:spPr bwMode="auto">
            <a:xfrm rot="3794824">
              <a:off x="7265194" y="2443957"/>
              <a:ext cx="466725" cy="300037"/>
            </a:xfrm>
            <a:prstGeom prst="leftRightArrow">
              <a:avLst>
                <a:gd name="adj1" fmla="val 50000"/>
                <a:gd name="adj2" fmla="val 46962"/>
              </a:avLst>
            </a:prstGeom>
            <a:solidFill>
              <a:schemeClr val="folHlink"/>
            </a:solidFill>
            <a:ln w="9525">
              <a:solidFill>
                <a:schemeClr val="folHlink"/>
              </a:solidFill>
              <a:miter lim="800000"/>
              <a:headEnd/>
              <a:tailEnd/>
            </a:ln>
          </p:spPr>
          <p:txBody>
            <a:bodyPr rot="10800000" vert="eaVert" wrap="none" anchor="ctr"/>
            <a:lstStyle/>
            <a:p>
              <a:pPr algn="ctr"/>
              <a:endParaRPr lang="en-GB" dirty="0"/>
            </a:p>
          </p:txBody>
        </p:sp>
        <p:sp>
          <p:nvSpPr>
            <p:cNvPr id="2071" name="AutoShape 22"/>
            <p:cNvSpPr>
              <a:spLocks noChangeArrowheads="1"/>
            </p:cNvSpPr>
            <p:nvPr>
              <p:custDataLst>
                <p:tags r:id="rId21"/>
              </p:custDataLst>
            </p:nvPr>
          </p:nvSpPr>
          <p:spPr bwMode="auto">
            <a:xfrm rot="-3342727">
              <a:off x="7043738" y="4149725"/>
              <a:ext cx="468312" cy="300038"/>
            </a:xfrm>
            <a:prstGeom prst="leftRightArrow">
              <a:avLst>
                <a:gd name="adj1" fmla="val 50000"/>
                <a:gd name="adj2" fmla="val 47122"/>
              </a:avLst>
            </a:prstGeom>
            <a:solidFill>
              <a:schemeClr val="folHlink"/>
            </a:solidFill>
            <a:ln w="9525">
              <a:solidFill>
                <a:schemeClr val="folHlink"/>
              </a:solidFill>
              <a:miter lim="800000"/>
              <a:headEnd/>
              <a:tailEnd/>
            </a:ln>
          </p:spPr>
          <p:txBody>
            <a:bodyPr vert="eaVert" wrap="none" anchor="ctr"/>
            <a:lstStyle/>
            <a:p>
              <a:pPr algn="ctr"/>
              <a:endParaRPr lang="en-GB" dirty="0"/>
            </a:p>
          </p:txBody>
        </p:sp>
        <p:sp>
          <p:nvSpPr>
            <p:cNvPr id="8218" name="Oval 23"/>
            <p:cNvSpPr>
              <a:spLocks noChangeArrowheads="1"/>
            </p:cNvSpPr>
            <p:nvPr>
              <p:custDataLst>
                <p:tags r:id="rId22"/>
              </p:custDataLst>
            </p:nvPr>
          </p:nvSpPr>
          <p:spPr bwMode="auto">
            <a:xfrm>
              <a:off x="4816475" y="2325688"/>
              <a:ext cx="2193925" cy="2193925"/>
            </a:xfrm>
            <a:prstGeom prst="ellipse">
              <a:avLst/>
            </a:prstGeom>
            <a:solidFill>
              <a:schemeClr val="accent2">
                <a:lumMod val="75000"/>
              </a:schemeClr>
            </a:solidFill>
            <a:ln w="28575">
              <a:solidFill>
                <a:schemeClr val="bg2"/>
              </a:solidFill>
              <a:round/>
              <a:headEnd/>
              <a:tailEnd/>
            </a:ln>
          </p:spPr>
          <p:txBody>
            <a:bodyPr wrap="none" anchor="ctr"/>
            <a:lstStyle/>
            <a:p>
              <a:pPr algn="ctr">
                <a:defRPr/>
              </a:pPr>
              <a:r>
                <a:rPr lang="en-GB" b="1" dirty="0"/>
                <a:t>P</a:t>
              </a:r>
            </a:p>
          </p:txBody>
        </p:sp>
        <p:grpSp>
          <p:nvGrpSpPr>
            <p:cNvPr id="2" name="Group 24"/>
            <p:cNvGrpSpPr>
              <a:grpSpLocks/>
            </p:cNvGrpSpPr>
            <p:nvPr/>
          </p:nvGrpSpPr>
          <p:grpSpPr bwMode="auto">
            <a:xfrm>
              <a:off x="4997450" y="2846388"/>
              <a:ext cx="1836738" cy="1114425"/>
              <a:chOff x="2942" y="1900"/>
              <a:chExt cx="1157" cy="638"/>
            </a:xfrm>
          </p:grpSpPr>
          <p:sp>
            <p:nvSpPr>
              <p:cNvPr id="2077" name="Oval 25"/>
              <p:cNvSpPr>
                <a:spLocks noChangeArrowheads="1"/>
              </p:cNvSpPr>
              <p:nvPr>
                <p:custDataLst>
                  <p:tags r:id="rId23"/>
                </p:custDataLst>
              </p:nvPr>
            </p:nvSpPr>
            <p:spPr bwMode="auto">
              <a:xfrm>
                <a:off x="3124" y="1900"/>
                <a:ext cx="798" cy="638"/>
              </a:xfrm>
              <a:prstGeom prst="ellipse">
                <a:avLst/>
              </a:prstGeom>
              <a:solidFill>
                <a:schemeClr val="accent2"/>
              </a:solidFill>
              <a:ln w="28575">
                <a:solidFill>
                  <a:schemeClr val="bg2"/>
                </a:solidFill>
                <a:round/>
                <a:headEnd/>
                <a:tailEnd/>
              </a:ln>
            </p:spPr>
            <p:txBody>
              <a:bodyPr wrap="none" anchor="ctr"/>
              <a:lstStyle/>
              <a:p>
                <a:pPr algn="ctr"/>
                <a:endParaRPr lang="en-GB" b="1" dirty="0"/>
              </a:p>
            </p:txBody>
          </p:sp>
          <p:sp>
            <p:nvSpPr>
              <p:cNvPr id="2078" name="Rectangle 26"/>
              <p:cNvSpPr>
                <a:spLocks noChangeArrowheads="1"/>
              </p:cNvSpPr>
              <p:nvPr>
                <p:custDataLst>
                  <p:tags r:id="rId24"/>
                </p:custDataLst>
              </p:nvPr>
            </p:nvSpPr>
            <p:spPr bwMode="auto">
              <a:xfrm>
                <a:off x="2942" y="2071"/>
                <a:ext cx="1157" cy="280"/>
              </a:xfrm>
              <a:prstGeom prst="rect">
                <a:avLst/>
              </a:prstGeom>
              <a:noFill/>
              <a:ln w="9525">
                <a:noFill/>
                <a:miter lim="800000"/>
                <a:headEnd/>
                <a:tailEnd/>
              </a:ln>
            </p:spPr>
            <p:txBody>
              <a:bodyPr lIns="0" tIns="0" rIns="0" bIns="0" anchor="ctr" anchorCtr="1">
                <a:spAutoFit/>
              </a:bodyPr>
              <a:lstStyle/>
              <a:p>
                <a:pPr algn="ctr" defTabSz="787400">
                  <a:buSzPct val="120000"/>
                </a:pPr>
                <a:r>
                  <a:rPr lang="el-GR" b="1" dirty="0"/>
                  <a:t>Ασθενής</a:t>
                </a:r>
                <a:r>
                  <a:rPr lang="en-GB" b="1" dirty="0"/>
                  <a:t>/</a:t>
                </a:r>
                <a:endParaRPr lang="el-GR" b="1" dirty="0"/>
              </a:p>
              <a:p>
                <a:pPr algn="ctr" defTabSz="787400">
                  <a:buSzPct val="120000"/>
                </a:pPr>
                <a:r>
                  <a:rPr lang="el-GR" b="1" dirty="0"/>
                  <a:t>Δικαιούχος</a:t>
                </a:r>
                <a:endParaRPr lang="en-GB" b="1" dirty="0"/>
              </a:p>
            </p:txBody>
          </p:sp>
        </p:grpSp>
        <p:sp>
          <p:nvSpPr>
            <p:cNvPr id="2074" name="TextBox 31"/>
            <p:cNvSpPr txBox="1">
              <a:spLocks noChangeArrowheads="1"/>
            </p:cNvSpPr>
            <p:nvPr/>
          </p:nvSpPr>
          <p:spPr bwMode="auto">
            <a:xfrm>
              <a:off x="5191125" y="2530475"/>
              <a:ext cx="1484313" cy="338138"/>
            </a:xfrm>
            <a:prstGeom prst="rect">
              <a:avLst/>
            </a:prstGeom>
            <a:noFill/>
            <a:ln w="9525">
              <a:noFill/>
              <a:miter lim="800000"/>
              <a:headEnd/>
              <a:tailEnd/>
            </a:ln>
          </p:spPr>
          <p:txBody>
            <a:bodyPr>
              <a:spAutoFit/>
            </a:bodyPr>
            <a:lstStyle/>
            <a:p>
              <a:r>
                <a:rPr lang="el-GR" b="1" dirty="0"/>
                <a:t>Προσωπικός</a:t>
              </a:r>
              <a:endParaRPr lang="en-GB" b="1" dirty="0"/>
            </a:p>
          </p:txBody>
        </p:sp>
        <p:sp>
          <p:nvSpPr>
            <p:cNvPr id="2075" name="TextBox 33"/>
            <p:cNvSpPr txBox="1">
              <a:spLocks noChangeArrowheads="1"/>
            </p:cNvSpPr>
            <p:nvPr/>
          </p:nvSpPr>
          <p:spPr bwMode="auto">
            <a:xfrm>
              <a:off x="5181600" y="3992563"/>
              <a:ext cx="1482725" cy="338137"/>
            </a:xfrm>
            <a:prstGeom prst="rect">
              <a:avLst/>
            </a:prstGeom>
            <a:noFill/>
            <a:ln w="9525">
              <a:noFill/>
              <a:miter lim="800000"/>
              <a:headEnd/>
              <a:tailEnd/>
            </a:ln>
          </p:spPr>
          <p:txBody>
            <a:bodyPr>
              <a:spAutoFit/>
            </a:bodyPr>
            <a:lstStyle/>
            <a:p>
              <a:pPr algn="ctr"/>
              <a:r>
                <a:rPr lang="el-GR" b="1" dirty="0"/>
                <a:t>Ιατρός</a:t>
              </a:r>
              <a:endParaRPr lang="en-GB" b="1" dirty="0"/>
            </a:p>
          </p:txBody>
        </p:sp>
      </p:grpSp>
      <p:grpSp>
        <p:nvGrpSpPr>
          <p:cNvPr id="3" name="Group 10"/>
          <p:cNvGrpSpPr>
            <a:grpSpLocks/>
          </p:cNvGrpSpPr>
          <p:nvPr/>
        </p:nvGrpSpPr>
        <p:grpSpPr bwMode="auto">
          <a:xfrm>
            <a:off x="160338" y="165100"/>
            <a:ext cx="5623774" cy="381600"/>
            <a:chOff x="359153" y="260248"/>
            <a:chExt cx="3844470" cy="840050"/>
          </a:xfrm>
        </p:grpSpPr>
        <p:sp>
          <p:nvSpPr>
            <p:cNvPr id="36" name="Rounded Rectangle 35"/>
            <p:cNvSpPr/>
            <p:nvPr/>
          </p:nvSpPr>
          <p:spPr>
            <a:xfrm>
              <a:off x="359153" y="260248"/>
              <a:ext cx="3844470" cy="840050"/>
            </a:xfrm>
            <a:prstGeom prst="round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37" name="Rounded Rectangle 4"/>
            <p:cNvSpPr/>
            <p:nvPr/>
          </p:nvSpPr>
          <p:spPr>
            <a:xfrm>
              <a:off x="399960" y="302251"/>
              <a:ext cx="3762856" cy="756045"/>
            </a:xfrm>
            <a:prstGeom prst="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defTabSz="1066800">
                <a:lnSpc>
                  <a:spcPct val="90000"/>
                </a:lnSpc>
                <a:defRPr/>
              </a:pPr>
              <a:r>
                <a:rPr lang="el-GR" sz="2000" b="1" dirty="0"/>
                <a:t>Ανθρωποκεντρικό Σύστημα </a:t>
              </a:r>
              <a:endParaRPr lang="en-GB" sz="2000" b="1" dirty="0"/>
            </a:p>
          </p:txBody>
        </p:sp>
      </p:grpSp>
    </p:spTree>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Slide Number Placeholder 2"/>
          <p:cNvSpPr>
            <a:spLocks noGrp="1"/>
          </p:cNvSpPr>
          <p:nvPr>
            <p:ph type="sldNum" sz="quarter" idx="10"/>
          </p:nvPr>
        </p:nvSpPr>
        <p:spPr>
          <a:xfrm>
            <a:off x="6870700" y="6331164"/>
            <a:ext cx="1866900" cy="184150"/>
          </a:xfrm>
        </p:spPr>
        <p:txBody>
          <a:bodyPr/>
          <a:lstStyle/>
          <a:p>
            <a:pPr>
              <a:defRPr/>
            </a:pPr>
            <a:fld id="{D8301870-0F69-4FB4-B789-923AB30A427C}" type="slidenum">
              <a:rPr lang="en-GB"/>
              <a:pPr>
                <a:defRPr/>
              </a:pPr>
              <a:t>11</a:t>
            </a:fld>
            <a:endParaRPr lang="en-GB" dirty="0"/>
          </a:p>
        </p:txBody>
      </p:sp>
      <p:grpSp>
        <p:nvGrpSpPr>
          <p:cNvPr id="2" name="Group 4"/>
          <p:cNvGrpSpPr>
            <a:grpSpLocks/>
          </p:cNvGrpSpPr>
          <p:nvPr/>
        </p:nvGrpSpPr>
        <p:grpSpPr bwMode="auto">
          <a:xfrm>
            <a:off x="505933" y="989409"/>
            <a:ext cx="8035925" cy="1612899"/>
            <a:chOff x="641598" y="65334"/>
            <a:chExt cx="5615899" cy="2580777"/>
          </a:xfrm>
          <a:solidFill>
            <a:schemeClr val="accent6">
              <a:lumMod val="40000"/>
              <a:lumOff val="60000"/>
            </a:schemeClr>
          </a:solidFill>
        </p:grpSpPr>
        <p:sp>
          <p:nvSpPr>
            <p:cNvPr id="6" name="Rounded Rectangle 5"/>
            <p:cNvSpPr/>
            <p:nvPr/>
          </p:nvSpPr>
          <p:spPr>
            <a:xfrm>
              <a:off x="641598" y="65334"/>
              <a:ext cx="5615899" cy="2580777"/>
            </a:xfrm>
            <a:prstGeom prst="roundRect">
              <a:avLst/>
            </a:prstGeom>
            <a:grpFill/>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7" name="Rounded Rectangle 4"/>
            <p:cNvSpPr/>
            <p:nvPr/>
          </p:nvSpPr>
          <p:spPr>
            <a:xfrm>
              <a:off x="756994" y="407245"/>
              <a:ext cx="5432365" cy="1757774"/>
            </a:xfrm>
            <a:prstGeom prst="rect">
              <a:avLst/>
            </a:prstGeom>
            <a:grpFill/>
          </p:spPr>
          <p:style>
            <a:lnRef idx="0">
              <a:scrgbClr r="0" g="0" b="0"/>
            </a:lnRef>
            <a:fillRef idx="0">
              <a:scrgbClr r="0" g="0" b="0"/>
            </a:fillRef>
            <a:effectRef idx="0">
              <a:scrgbClr r="0" g="0" b="0"/>
            </a:effectRef>
            <a:fontRef idx="minor">
              <a:schemeClr val="lt1"/>
            </a:fontRef>
          </p:style>
          <p:txBody>
            <a:bodyPr lIns="212268" tIns="0" rIns="212268" bIns="0" spcCol="1270" anchor="ctr"/>
            <a:lstStyle/>
            <a:p>
              <a:pPr algn="just" defTabSz="889000">
                <a:lnSpc>
                  <a:spcPct val="90000"/>
                </a:lnSpc>
                <a:spcAft>
                  <a:spcPct val="35000"/>
                </a:spcAft>
                <a:defRPr/>
              </a:pPr>
              <a:r>
                <a:rPr lang="el-GR" b="1" dirty="0">
                  <a:solidFill>
                    <a:schemeClr val="tx1"/>
                  </a:solidFill>
                </a:rPr>
                <a:t>ΟΡΓΑΝΙΣΜΟΣ ΑΣΦΑΛΙΣΗΣ ΥΓΕΙΑΣ (ΟΑΥ) </a:t>
              </a:r>
            </a:p>
            <a:p>
              <a:pPr algn="just" defTabSz="889000">
                <a:lnSpc>
                  <a:spcPct val="90000"/>
                </a:lnSpc>
                <a:spcAft>
                  <a:spcPct val="35000"/>
                </a:spcAft>
                <a:defRPr/>
              </a:pPr>
              <a:r>
                <a:rPr lang="el-GR" sz="1800" dirty="0">
                  <a:solidFill>
                    <a:schemeClr val="tx1"/>
                  </a:solidFill>
                </a:rPr>
                <a:t>Νομικό πρόσωπο δημοσίου δικαίου που ιδρύθηκε</a:t>
              </a:r>
              <a:r>
                <a:rPr lang="en-GB" sz="1800" dirty="0">
                  <a:solidFill>
                    <a:schemeClr val="tx1"/>
                  </a:solidFill>
                </a:rPr>
                <a:t> </a:t>
              </a:r>
              <a:r>
                <a:rPr lang="el-GR" sz="1800" dirty="0">
                  <a:solidFill>
                    <a:schemeClr val="tx1"/>
                  </a:solidFill>
                </a:rPr>
                <a:t>με σκοπό την εφαρμογή του Γενικού Συστήματος Υγείας (ΓεΣΥ), την παρακολούθηση και διαχείριση του Συστήματος, ώστε να προάγεται η κοινωνική αλληλεγγύη, η ισότιμη πρόσβαση και η αποδοτική χρήση πόρων.</a:t>
              </a:r>
              <a:endParaRPr lang="en-GB" sz="1800" dirty="0">
                <a:solidFill>
                  <a:schemeClr val="tx1"/>
                </a:solidFill>
              </a:endParaRPr>
            </a:p>
          </p:txBody>
        </p:sp>
      </p:grpSp>
      <p:sp>
        <p:nvSpPr>
          <p:cNvPr id="8" name="Rounded Rectangle 7"/>
          <p:cNvSpPr/>
          <p:nvPr/>
        </p:nvSpPr>
        <p:spPr>
          <a:xfrm>
            <a:off x="202019" y="146752"/>
            <a:ext cx="5252483" cy="381600"/>
          </a:xfrm>
          <a:prstGeom prst="roundRect">
            <a:avLst/>
          </a:prstGeom>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r>
              <a:rPr lang="el-GR" sz="2000" b="1" dirty="0"/>
              <a:t>Διαχείριση ΓεΣΥ</a:t>
            </a:r>
          </a:p>
        </p:txBody>
      </p:sp>
      <p:grpSp>
        <p:nvGrpSpPr>
          <p:cNvPr id="3" name="Group 8"/>
          <p:cNvGrpSpPr/>
          <p:nvPr/>
        </p:nvGrpSpPr>
        <p:grpSpPr>
          <a:xfrm>
            <a:off x="571500" y="2765639"/>
            <a:ext cx="8026400" cy="755650"/>
            <a:chOff x="409641" y="24899"/>
            <a:chExt cx="6620351" cy="915120"/>
          </a:xfrm>
          <a:solidFill>
            <a:schemeClr val="accent6">
              <a:lumMod val="40000"/>
              <a:lumOff val="60000"/>
            </a:schemeClr>
          </a:solidFill>
        </p:grpSpPr>
        <p:sp>
          <p:nvSpPr>
            <p:cNvPr id="10" name="Rounded Rectangle 9"/>
            <p:cNvSpPr/>
            <p:nvPr/>
          </p:nvSpPr>
          <p:spPr>
            <a:xfrm>
              <a:off x="409641" y="24899"/>
              <a:ext cx="6620351" cy="915120"/>
            </a:xfrm>
            <a:prstGeom prst="roundRect">
              <a:avLst/>
            </a:prstGeom>
            <a:grpFill/>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11" name="Rounded Rectangle 4"/>
            <p:cNvSpPr/>
            <p:nvPr/>
          </p:nvSpPr>
          <p:spPr>
            <a:xfrm>
              <a:off x="454313" y="69571"/>
              <a:ext cx="6531007" cy="82577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16769" tIns="0" rIns="216769" bIns="0" numCol="1" spcCol="1270" anchor="ctr" anchorCtr="0">
              <a:noAutofit/>
            </a:bodyPr>
            <a:lstStyle/>
            <a:p>
              <a:pPr lvl="0" algn="l" defTabSz="889000">
                <a:lnSpc>
                  <a:spcPct val="90000"/>
                </a:lnSpc>
                <a:spcBef>
                  <a:spcPct val="0"/>
                </a:spcBef>
                <a:spcAft>
                  <a:spcPct val="35000"/>
                </a:spcAft>
              </a:pPr>
              <a:r>
                <a:rPr lang="el-GR" sz="1700" b="0" kern="1200" dirty="0">
                  <a:solidFill>
                    <a:schemeClr val="tx1"/>
                  </a:solidFill>
                  <a:cs typeface="+mn-cs"/>
                </a:rPr>
                <a:t>Ο ΟΑΥ διοικείται από Διοικητικό Συμβούλιο το οποίο απαρτίζεται από 13 μέλη, με συμμετοχή του Κράτους, των εργοδοτών, των εργαζομένων και των ασθενών</a:t>
              </a:r>
              <a:r>
                <a:rPr lang="en-GB" sz="1700" dirty="0">
                  <a:solidFill>
                    <a:schemeClr val="tx1"/>
                  </a:solidFill>
                </a:rPr>
                <a:t>:</a:t>
              </a:r>
              <a:endParaRPr lang="en-GB" sz="1700" b="0" kern="1200" dirty="0">
                <a:solidFill>
                  <a:schemeClr val="tx1"/>
                </a:solidFill>
                <a:cs typeface="+mn-cs"/>
              </a:endParaRPr>
            </a:p>
          </p:txBody>
        </p:sp>
      </p:grpSp>
      <p:sp>
        <p:nvSpPr>
          <p:cNvPr id="14" name="Rectangle 13"/>
          <p:cNvSpPr/>
          <p:nvPr/>
        </p:nvSpPr>
        <p:spPr>
          <a:xfrm>
            <a:off x="365251" y="3210716"/>
            <a:ext cx="8192835" cy="19811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635855" tIns="645668" rIns="635855" bIns="142240" numCol="1" spcCol="1270" anchor="t" anchorCtr="0">
            <a:noAutofit/>
          </a:bodyPr>
          <a:lstStyle/>
          <a:p>
            <a:pPr marL="228600" lvl="1" indent="-228600" algn="l" defTabSz="889000">
              <a:lnSpc>
                <a:spcPct val="90000"/>
              </a:lnSpc>
              <a:spcBef>
                <a:spcPct val="0"/>
              </a:spcBef>
              <a:spcAft>
                <a:spcPct val="15000"/>
              </a:spcAft>
              <a:buChar char="••"/>
            </a:pPr>
            <a:r>
              <a:rPr lang="el-GR" sz="1700" kern="1200" dirty="0"/>
              <a:t>Πρόεδρος</a:t>
            </a:r>
            <a:endParaRPr lang="en-GB" sz="1700" kern="1200" dirty="0"/>
          </a:p>
          <a:p>
            <a:pPr marL="228600" lvl="1" indent="-228600" algn="l" defTabSz="889000">
              <a:lnSpc>
                <a:spcPct val="90000"/>
              </a:lnSpc>
              <a:spcBef>
                <a:spcPct val="0"/>
              </a:spcBef>
              <a:spcAft>
                <a:spcPct val="15000"/>
              </a:spcAft>
              <a:buChar char="••"/>
            </a:pPr>
            <a:r>
              <a:rPr lang="el-GR" sz="1700" kern="1200" dirty="0"/>
              <a:t>Γ. Δ/</a:t>
            </a:r>
            <a:r>
              <a:rPr lang="el-GR" sz="1700" kern="1200" dirty="0" err="1"/>
              <a:t>ντης </a:t>
            </a:r>
            <a:r>
              <a:rPr lang="el-GR" sz="1700" kern="1200" dirty="0"/>
              <a:t>Υπ. Υγείας</a:t>
            </a:r>
            <a:endParaRPr lang="en-GB" sz="1700" kern="1200" dirty="0"/>
          </a:p>
          <a:p>
            <a:pPr marL="228600" lvl="1" indent="-228600" algn="l" defTabSz="889000">
              <a:lnSpc>
                <a:spcPct val="90000"/>
              </a:lnSpc>
              <a:spcBef>
                <a:spcPct val="0"/>
              </a:spcBef>
              <a:spcAft>
                <a:spcPct val="15000"/>
              </a:spcAft>
              <a:buChar char="••"/>
            </a:pPr>
            <a:r>
              <a:rPr lang="el-GR" sz="1700" kern="1200" dirty="0"/>
              <a:t>Γ. Δ/</a:t>
            </a:r>
            <a:r>
              <a:rPr lang="el-GR" sz="1700" kern="1200" dirty="0" err="1"/>
              <a:t>ντής </a:t>
            </a:r>
            <a:r>
              <a:rPr lang="el-GR" sz="1700" kern="1200" dirty="0"/>
              <a:t>Υπ. Οικονομικών</a:t>
            </a:r>
            <a:endParaRPr lang="en-GB" sz="1700" kern="1200" dirty="0"/>
          </a:p>
          <a:p>
            <a:pPr marL="228600" lvl="1" indent="-228600" algn="l" defTabSz="889000">
              <a:lnSpc>
                <a:spcPct val="90000"/>
              </a:lnSpc>
              <a:spcBef>
                <a:spcPct val="0"/>
              </a:spcBef>
              <a:spcAft>
                <a:spcPct val="15000"/>
              </a:spcAft>
              <a:buChar char="••"/>
            </a:pPr>
            <a:r>
              <a:rPr lang="el-GR" sz="1700" kern="1200" dirty="0"/>
              <a:t>Κυβέρνηση</a:t>
            </a:r>
            <a:r>
              <a:rPr lang="el-GR" sz="1700" dirty="0"/>
              <a:t>                 </a:t>
            </a:r>
            <a:r>
              <a:rPr lang="el-GR" sz="1700" kern="1200" dirty="0"/>
              <a:t>2 μέλη </a:t>
            </a:r>
            <a:endParaRPr lang="en-GB" sz="1700" kern="1200" dirty="0"/>
          </a:p>
          <a:p>
            <a:pPr marL="228600" lvl="1" indent="-228600" algn="l" defTabSz="889000">
              <a:lnSpc>
                <a:spcPct val="90000"/>
              </a:lnSpc>
              <a:spcBef>
                <a:spcPct val="0"/>
              </a:spcBef>
              <a:spcAft>
                <a:spcPct val="15000"/>
              </a:spcAft>
              <a:buChar char="••"/>
            </a:pPr>
            <a:r>
              <a:rPr lang="el-GR" sz="1700" kern="1200" dirty="0"/>
              <a:t>Εργοδότες</a:t>
            </a:r>
            <a:r>
              <a:rPr lang="el-GR" sz="1700" dirty="0"/>
              <a:t>                  </a:t>
            </a:r>
            <a:r>
              <a:rPr lang="el-GR" sz="1700" kern="1200" dirty="0"/>
              <a:t>3 μέλη</a:t>
            </a:r>
            <a:endParaRPr lang="en-GB" sz="1700" kern="1200" dirty="0"/>
          </a:p>
          <a:p>
            <a:pPr marL="228600" lvl="1" indent="-228600" algn="l" defTabSz="889000">
              <a:lnSpc>
                <a:spcPct val="90000"/>
              </a:lnSpc>
              <a:spcBef>
                <a:spcPct val="0"/>
              </a:spcBef>
              <a:spcAft>
                <a:spcPct val="15000"/>
              </a:spcAft>
              <a:buChar char="••"/>
            </a:pPr>
            <a:r>
              <a:rPr lang="el-GR" sz="1700" kern="1200" dirty="0"/>
              <a:t>Εργαζόμενοι	</a:t>
            </a:r>
            <a:r>
              <a:rPr lang="el-GR" sz="1700" dirty="0"/>
              <a:t>    </a:t>
            </a:r>
            <a:r>
              <a:rPr lang="en-GB" sz="1700" dirty="0"/>
              <a:t>     </a:t>
            </a:r>
            <a:r>
              <a:rPr lang="el-GR" sz="1700" kern="1200" dirty="0"/>
              <a:t>3 μέλη</a:t>
            </a:r>
            <a:endParaRPr lang="en-GB" sz="1700" kern="1200" dirty="0"/>
          </a:p>
          <a:p>
            <a:pPr marL="228600" lvl="1" indent="-228600" algn="l" defTabSz="889000">
              <a:lnSpc>
                <a:spcPct val="90000"/>
              </a:lnSpc>
              <a:spcBef>
                <a:spcPct val="0"/>
              </a:spcBef>
              <a:spcAft>
                <a:spcPct val="15000"/>
              </a:spcAft>
              <a:buChar char="••"/>
            </a:pPr>
            <a:r>
              <a:rPr lang="el-GR" sz="1700" kern="1200" dirty="0"/>
              <a:t>Αυτοτελώς</a:t>
            </a:r>
            <a:r>
              <a:rPr lang="en-GB" sz="1700" kern="1200" dirty="0"/>
              <a:t> </a:t>
            </a:r>
            <a:r>
              <a:rPr lang="el-GR" sz="1700" kern="1200" dirty="0" err="1"/>
              <a:t>Εργ</a:t>
            </a:r>
            <a:r>
              <a:rPr lang="el-GR" sz="1700" kern="1200" dirty="0"/>
              <a:t>.        </a:t>
            </a:r>
            <a:r>
              <a:rPr lang="en-GB" sz="1700" kern="1200" dirty="0"/>
              <a:t> </a:t>
            </a:r>
            <a:r>
              <a:rPr lang="el-GR" sz="1700" kern="1200" dirty="0"/>
              <a:t> 1 μέλος</a:t>
            </a:r>
            <a:endParaRPr lang="en-GB" sz="1700" kern="1200" dirty="0"/>
          </a:p>
          <a:p>
            <a:pPr marL="228600" lvl="1" indent="-228600" algn="l" defTabSz="889000">
              <a:lnSpc>
                <a:spcPct val="90000"/>
              </a:lnSpc>
              <a:spcBef>
                <a:spcPct val="0"/>
              </a:spcBef>
              <a:spcAft>
                <a:spcPct val="15000"/>
              </a:spcAft>
              <a:buChar char="••"/>
            </a:pPr>
            <a:r>
              <a:rPr lang="el-GR" sz="1700" kern="1200" dirty="0"/>
              <a:t>Ασθενείς                   </a:t>
            </a:r>
            <a:r>
              <a:rPr lang="en-GB" sz="1700" kern="1200" dirty="0"/>
              <a:t> </a:t>
            </a:r>
            <a:r>
              <a:rPr lang="el-GR" sz="1700" kern="1200" dirty="0"/>
              <a:t> 1 μέλος</a:t>
            </a:r>
            <a:endParaRPr lang="el-GR" sz="1700" dirty="0"/>
          </a:p>
        </p:txBody>
      </p:sp>
      <p:grpSp>
        <p:nvGrpSpPr>
          <p:cNvPr id="4" name="Group 12"/>
          <p:cNvGrpSpPr/>
          <p:nvPr/>
        </p:nvGrpSpPr>
        <p:grpSpPr>
          <a:xfrm>
            <a:off x="476250" y="5896190"/>
            <a:ext cx="8051799" cy="546100"/>
            <a:chOff x="409641" y="24899"/>
            <a:chExt cx="6620351" cy="915120"/>
          </a:xfrm>
          <a:solidFill>
            <a:schemeClr val="accent6">
              <a:lumMod val="40000"/>
              <a:lumOff val="60000"/>
            </a:schemeClr>
          </a:solidFill>
        </p:grpSpPr>
        <p:sp>
          <p:nvSpPr>
            <p:cNvPr id="15" name="Rounded Rectangle 14"/>
            <p:cNvSpPr/>
            <p:nvPr/>
          </p:nvSpPr>
          <p:spPr>
            <a:xfrm>
              <a:off x="409641" y="24899"/>
              <a:ext cx="6620351" cy="915120"/>
            </a:xfrm>
            <a:prstGeom prst="roundRect">
              <a:avLst/>
            </a:prstGeom>
            <a:grpFill/>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16" name="Rounded Rectangle 4"/>
            <p:cNvSpPr/>
            <p:nvPr/>
          </p:nvSpPr>
          <p:spPr>
            <a:xfrm>
              <a:off x="454313" y="69571"/>
              <a:ext cx="6531007" cy="82577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216769" tIns="0" rIns="216769" bIns="0" numCol="1" spcCol="1270" anchor="ctr" anchorCtr="0">
              <a:noAutofit/>
            </a:bodyPr>
            <a:lstStyle/>
            <a:p>
              <a:pPr marL="228600" lvl="1" indent="-228600" defTabSz="889000">
                <a:lnSpc>
                  <a:spcPct val="90000"/>
                </a:lnSpc>
                <a:spcAft>
                  <a:spcPct val="15000"/>
                </a:spcAft>
              </a:pPr>
              <a:r>
                <a:rPr lang="el-GR" sz="1800" dirty="0">
                  <a:solidFill>
                    <a:schemeClr val="tx1"/>
                  </a:solidFill>
                </a:rPr>
                <a:t>Η σύνθεση του ΔΣ παρέχει αυτονομία και θωράκιση από πολιτικές παρεμβάσεις και προωθεί τη  συναίνεση στη λήψη αποφάσεων</a:t>
              </a:r>
              <a:endParaRPr lang="en-GB" sz="1800" dirty="0">
                <a:solidFill>
                  <a:schemeClr val="tx1"/>
                </a:solidFill>
              </a:endParaRPr>
            </a:p>
          </p:txBody>
        </p:sp>
      </p:grpSp>
    </p:spTree>
  </p:cSld>
  <p:clrMapOvr>
    <a:masterClrMapping/>
  </p:clrMapOvr>
  <p:transition spd="med">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B17A159A-E52B-4D42-808C-E74FEF552C31}" type="slidenum">
              <a:rPr lang="en-GB" smtClean="0"/>
              <a:pPr>
                <a:defRPr/>
              </a:pPr>
              <a:t>12</a:t>
            </a:fld>
            <a:endParaRPr lang="en-GB"/>
          </a:p>
        </p:txBody>
      </p:sp>
      <p:graphicFrame>
        <p:nvGraphicFramePr>
          <p:cNvPr id="6" name="Diagram 5"/>
          <p:cNvGraphicFramePr/>
          <p:nvPr/>
        </p:nvGraphicFramePr>
        <p:xfrm>
          <a:off x="506994" y="628643"/>
          <a:ext cx="7668285" cy="53647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p:cNvGraphicFramePr/>
          <p:nvPr/>
        </p:nvGraphicFramePr>
        <p:xfrm>
          <a:off x="922841" y="1835125"/>
          <a:ext cx="6808817" cy="395005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Rounded Rectangle 8"/>
          <p:cNvSpPr/>
          <p:nvPr/>
        </p:nvSpPr>
        <p:spPr>
          <a:xfrm>
            <a:off x="191387" y="148862"/>
            <a:ext cx="4795284" cy="381600"/>
          </a:xfrm>
          <a:prstGeom prst="roundRect">
            <a:avLst/>
          </a:prstGeom>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r>
              <a:rPr lang="el-GR" sz="2000" b="1" dirty="0"/>
              <a:t>Δικαιούχοι </a:t>
            </a:r>
          </a:p>
        </p:txBody>
      </p:sp>
    </p:spTree>
  </p:cSld>
  <p:clrMapOvr>
    <a:masterClrMapping/>
  </p:clrMapOvr>
  <p:transition spd="med">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Slide Number Placeholder 2"/>
          <p:cNvSpPr>
            <a:spLocks noGrp="1"/>
          </p:cNvSpPr>
          <p:nvPr>
            <p:ph type="sldNum" sz="quarter" idx="10"/>
          </p:nvPr>
        </p:nvSpPr>
        <p:spPr>
          <a:noFill/>
        </p:spPr>
        <p:txBody>
          <a:bodyPr/>
          <a:lstStyle/>
          <a:p>
            <a:fld id="{D36515AB-F1DC-4545-BD85-A72F2CEA7CB7}" type="slidenum">
              <a:rPr lang="en-GB"/>
              <a:pPr/>
              <a:t>13</a:t>
            </a:fld>
            <a:endParaRPr lang="en-GB" dirty="0"/>
          </a:p>
        </p:txBody>
      </p:sp>
      <p:graphicFrame>
        <p:nvGraphicFramePr>
          <p:cNvPr id="4" name="Diagram 3"/>
          <p:cNvGraphicFramePr/>
          <p:nvPr/>
        </p:nvGraphicFramePr>
        <p:xfrm>
          <a:off x="479834" y="697117"/>
          <a:ext cx="7957996" cy="55950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nvGraphicFramePr>
        <p:xfrm>
          <a:off x="796705" y="1948720"/>
          <a:ext cx="7233719" cy="429816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Rounded Rectangle 8"/>
          <p:cNvSpPr/>
          <p:nvPr/>
        </p:nvSpPr>
        <p:spPr>
          <a:xfrm>
            <a:off x="308344" y="106330"/>
            <a:ext cx="5635256" cy="381600"/>
          </a:xfrm>
          <a:prstGeom prst="roundRect">
            <a:avLst/>
          </a:prstGeom>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r>
              <a:rPr lang="el-GR" sz="2000" b="1" dirty="0" err="1"/>
              <a:t>Παροχείς</a:t>
            </a:r>
            <a:r>
              <a:rPr lang="el-GR" sz="2000" b="1" dirty="0"/>
              <a:t> υπηρεσιών υγείας</a:t>
            </a:r>
          </a:p>
        </p:txBody>
      </p:sp>
    </p:spTree>
  </p:cSld>
  <p:clrMapOvr>
    <a:masterClrMapping/>
  </p:clrMapOvr>
  <p:transition spd="med">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Number Placeholder 2"/>
          <p:cNvSpPr>
            <a:spLocks noGrp="1"/>
          </p:cNvSpPr>
          <p:nvPr>
            <p:ph type="sldNum" sz="quarter" idx="10"/>
          </p:nvPr>
        </p:nvSpPr>
        <p:spPr/>
        <p:txBody>
          <a:bodyPr/>
          <a:lstStyle/>
          <a:p>
            <a:pPr>
              <a:defRPr/>
            </a:pPr>
            <a:fld id="{9F13BD5F-7526-4468-827E-AA5648474BFD}" type="slidenum">
              <a:rPr lang="en-GB" smtClean="0">
                <a:ea typeface="ＭＳ Ｐゴシック" pitchFamily="34" charset="-128"/>
              </a:rPr>
              <a:pPr>
                <a:defRPr/>
              </a:pPr>
              <a:t>14</a:t>
            </a:fld>
            <a:endParaRPr lang="en-GB" dirty="0">
              <a:ea typeface="ＭＳ Ｐゴシック" pitchFamily="34" charset="-128"/>
            </a:endParaRPr>
          </a:p>
        </p:txBody>
      </p:sp>
      <p:graphicFrame>
        <p:nvGraphicFramePr>
          <p:cNvPr id="9" name="Diagram 8"/>
          <p:cNvGraphicFramePr/>
          <p:nvPr/>
        </p:nvGraphicFramePr>
        <p:xfrm>
          <a:off x="287079" y="882650"/>
          <a:ext cx="8346557" cy="54437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1" name="Group 10"/>
          <p:cNvGrpSpPr>
            <a:grpSpLocks/>
          </p:cNvGrpSpPr>
          <p:nvPr/>
        </p:nvGrpSpPr>
        <p:grpSpPr bwMode="auto">
          <a:xfrm>
            <a:off x="127000" y="152400"/>
            <a:ext cx="6039884" cy="381600"/>
            <a:chOff x="359153" y="260248"/>
            <a:chExt cx="3844470" cy="840050"/>
          </a:xfrm>
        </p:grpSpPr>
        <p:sp>
          <p:nvSpPr>
            <p:cNvPr id="12" name="Rounded Rectangle 11"/>
            <p:cNvSpPr/>
            <p:nvPr/>
          </p:nvSpPr>
          <p:spPr>
            <a:xfrm>
              <a:off x="359153" y="260248"/>
              <a:ext cx="3844470" cy="840050"/>
            </a:xfrm>
            <a:prstGeom prst="roundRect">
              <a:avLst/>
            </a:prstGeom>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13" name="Rounded Rectangle 4"/>
            <p:cNvSpPr/>
            <p:nvPr/>
          </p:nvSpPr>
          <p:spPr>
            <a:xfrm>
              <a:off x="399960" y="302251"/>
              <a:ext cx="3762856" cy="756045"/>
            </a:xfrm>
            <a:prstGeom prst="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defTabSz="1066800">
                <a:lnSpc>
                  <a:spcPct val="90000"/>
                </a:lnSpc>
                <a:defRPr/>
              </a:pPr>
              <a:r>
                <a:rPr lang="el-GR" sz="2000" b="1" dirty="0"/>
                <a:t>Πρόσβαση σε υπηρεσίες φροντίδας υγείας </a:t>
              </a:r>
              <a:endParaRPr lang="en-GB" sz="2000" b="1" dirty="0"/>
            </a:p>
          </p:txBody>
        </p:sp>
      </p:grpSp>
    </p:spTree>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Number Placeholder 3"/>
          <p:cNvSpPr>
            <a:spLocks noGrp="1"/>
          </p:cNvSpPr>
          <p:nvPr>
            <p:ph type="sldNum" sz="quarter" idx="10"/>
          </p:nvPr>
        </p:nvSpPr>
        <p:spPr/>
        <p:txBody>
          <a:bodyPr/>
          <a:lstStyle/>
          <a:p>
            <a:pPr>
              <a:defRPr/>
            </a:pPr>
            <a:fld id="{0A466116-D552-4B14-8A09-0D7B0E6C50C2}" type="slidenum">
              <a:rPr lang="en-GB" smtClean="0">
                <a:ea typeface="ＭＳ Ｐゴシック" pitchFamily="34" charset="-128"/>
              </a:rPr>
              <a:pPr>
                <a:defRPr/>
              </a:pPr>
              <a:t>15</a:t>
            </a:fld>
            <a:endParaRPr lang="en-GB" dirty="0">
              <a:ea typeface="ＭＳ Ｐゴシック" pitchFamily="34" charset="-128"/>
            </a:endParaRPr>
          </a:p>
        </p:txBody>
      </p:sp>
      <p:graphicFrame>
        <p:nvGraphicFramePr>
          <p:cNvPr id="8" name="Diagram 7"/>
          <p:cNvGraphicFramePr/>
          <p:nvPr/>
        </p:nvGraphicFramePr>
        <p:xfrm>
          <a:off x="219075" y="800099"/>
          <a:ext cx="8420099" cy="581025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9" name="Group 8"/>
          <p:cNvGrpSpPr>
            <a:grpSpLocks/>
          </p:cNvGrpSpPr>
          <p:nvPr/>
        </p:nvGrpSpPr>
        <p:grpSpPr bwMode="auto">
          <a:xfrm>
            <a:off x="241300" y="234950"/>
            <a:ext cx="5787360" cy="355600"/>
            <a:chOff x="359153" y="260248"/>
            <a:chExt cx="3844470" cy="840050"/>
          </a:xfrm>
        </p:grpSpPr>
        <p:sp>
          <p:nvSpPr>
            <p:cNvPr id="10" name="Rounded Rectangle 9"/>
            <p:cNvSpPr/>
            <p:nvPr/>
          </p:nvSpPr>
          <p:spPr>
            <a:xfrm>
              <a:off x="359153" y="260248"/>
              <a:ext cx="3844470" cy="840050"/>
            </a:xfrm>
            <a:prstGeom prst="round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11" name="Rounded Rectangle 4"/>
            <p:cNvSpPr/>
            <p:nvPr/>
          </p:nvSpPr>
          <p:spPr>
            <a:xfrm>
              <a:off x="399960" y="302251"/>
              <a:ext cx="3762856" cy="756045"/>
            </a:xfrm>
            <a:prstGeom prst="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defTabSz="1066800">
                <a:lnSpc>
                  <a:spcPct val="90000"/>
                </a:lnSpc>
                <a:defRPr/>
              </a:pPr>
              <a:r>
                <a:rPr lang="el-GR" sz="2000" b="1" dirty="0"/>
                <a:t>Ροή δικαιούχων</a:t>
              </a:r>
              <a:endParaRPr lang="en-GB" sz="2000" b="1" dirty="0"/>
            </a:p>
          </p:txBody>
        </p:sp>
      </p:grpSp>
      <p:sp>
        <p:nvSpPr>
          <p:cNvPr id="12" name="Rectangle 11"/>
          <p:cNvSpPr/>
          <p:nvPr/>
        </p:nvSpPr>
        <p:spPr bwMode="auto">
          <a:xfrm>
            <a:off x="317500" y="5496288"/>
            <a:ext cx="8248530" cy="745028"/>
          </a:xfrm>
          <a:prstGeom prst="rect">
            <a:avLst/>
          </a:prstGeom>
          <a:solidFill>
            <a:schemeClr val="accent6">
              <a:lumMod val="40000"/>
              <a:lumOff val="60000"/>
            </a:schemeClr>
          </a:solidFill>
          <a:ln w="9525" cap="flat" cmpd="sng" algn="ctr">
            <a:solidFill>
              <a:schemeClr val="accent6">
                <a:lumMod val="60000"/>
                <a:lumOff val="40000"/>
              </a:schemeClr>
            </a:solidFill>
            <a:prstDash val="solid"/>
            <a:round/>
            <a:headEnd type="none" w="med" len="med"/>
            <a:tailEnd type="none" w="med" len="med"/>
          </a:ln>
          <a:effectLst/>
        </p:spPr>
        <p:txBody>
          <a:bodyPr vert="horz" wrap="none" lIns="91430" tIns="45715" rIns="91430" bIns="45715" numCol="1" rtlCol="0" anchor="ctr" anchorCtr="0" compatLnSpc="1">
            <a:prstTxWarp prst="textNoShape">
              <a:avLst/>
            </a:prstTxWarp>
          </a:bodyPr>
          <a:lstStyle/>
          <a:p>
            <a:pPr fontAlgn="ctr"/>
            <a:r>
              <a:rPr lang="el-GR" dirty="0"/>
              <a:t> Σε περίπτωση που ο δικαιούχος επισκεφθεί Ειδικό Ιατρό </a:t>
            </a:r>
            <a:r>
              <a:rPr lang="el-GR" b="1" u="sng" dirty="0"/>
              <a:t>απευθείας</a:t>
            </a:r>
            <a:r>
              <a:rPr lang="el-GR" dirty="0"/>
              <a:t>, εξαιρουμένων</a:t>
            </a:r>
            <a:endParaRPr lang="en-GB" dirty="0"/>
          </a:p>
          <a:p>
            <a:pPr fontAlgn="ctr"/>
            <a:r>
              <a:rPr lang="en-GB" dirty="0"/>
              <a:t> </a:t>
            </a:r>
            <a:r>
              <a:rPr lang="el-GR" dirty="0"/>
              <a:t>των Γυναικολόγων, θα καταβάλλει επιπρόσθετη οικονομική εισφορά</a:t>
            </a:r>
          </a:p>
        </p:txBody>
      </p:sp>
      <p:sp>
        <p:nvSpPr>
          <p:cNvPr id="14" name="TextBox 13"/>
          <p:cNvSpPr txBox="1"/>
          <p:nvPr/>
        </p:nvSpPr>
        <p:spPr>
          <a:xfrm>
            <a:off x="342900" y="6244117"/>
            <a:ext cx="2443939" cy="307777"/>
          </a:xfrm>
          <a:prstGeom prst="rect">
            <a:avLst/>
          </a:prstGeom>
          <a:noFill/>
        </p:spPr>
        <p:txBody>
          <a:bodyPr wrap="none" rtlCol="0">
            <a:spAutoFit/>
          </a:bodyPr>
          <a:lstStyle/>
          <a:p>
            <a:r>
              <a:rPr lang="el-GR" sz="1400" dirty="0"/>
              <a:t>* Εφαρμόζεται συμπληρωμή</a:t>
            </a:r>
          </a:p>
        </p:txBody>
      </p:sp>
    </p:spTree>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Slide Number Placeholder 22"/>
          <p:cNvSpPr>
            <a:spLocks noGrp="1"/>
          </p:cNvSpPr>
          <p:nvPr>
            <p:ph type="sldNum" sz="quarter" idx="10"/>
          </p:nvPr>
        </p:nvSpPr>
        <p:spPr>
          <a:xfrm>
            <a:off x="6870700" y="6486501"/>
            <a:ext cx="1866900" cy="210090"/>
          </a:xfrm>
          <a:noFill/>
        </p:spPr>
        <p:txBody>
          <a:bodyPr/>
          <a:lstStyle/>
          <a:p>
            <a:fld id="{9197DAB9-2EE0-479C-8D83-699F2424B646}" type="slidenum">
              <a:rPr lang="en-US" smtClean="0">
                <a:ea typeface="ＭＳ Ｐゴシック" pitchFamily="34" charset="-128"/>
              </a:rPr>
              <a:pPr/>
              <a:t>16</a:t>
            </a:fld>
            <a:endParaRPr lang="en-US" dirty="0">
              <a:ea typeface="ＭＳ Ｐゴシック" pitchFamily="34" charset="-128"/>
            </a:endParaRPr>
          </a:p>
        </p:txBody>
      </p:sp>
      <p:graphicFrame>
        <p:nvGraphicFramePr>
          <p:cNvPr id="2050" name="Rectangle 26"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123" r:id="rId5" imgW="0" imgH="0" progId="">
                  <p:embed/>
                </p:oleObj>
              </mc:Choice>
              <mc:Fallback>
                <p:oleObj r:id="rId5" imgW="0" imgH="0" progId="">
                  <p:embed/>
                  <p:pic>
                    <p:nvPicPr>
                      <p:cNvPr id="0" name="Rectangle 2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11" name="Group 10"/>
          <p:cNvGrpSpPr>
            <a:grpSpLocks/>
          </p:cNvGrpSpPr>
          <p:nvPr/>
        </p:nvGrpSpPr>
        <p:grpSpPr bwMode="auto">
          <a:xfrm>
            <a:off x="141288" y="266700"/>
            <a:ext cx="6312675" cy="381600"/>
            <a:chOff x="359153" y="260248"/>
            <a:chExt cx="3844470" cy="840050"/>
          </a:xfrm>
        </p:grpSpPr>
        <p:sp>
          <p:nvSpPr>
            <p:cNvPr id="12" name="Rounded Rectangle 11"/>
            <p:cNvSpPr/>
            <p:nvPr/>
          </p:nvSpPr>
          <p:spPr>
            <a:xfrm>
              <a:off x="359153" y="260248"/>
              <a:ext cx="3844470" cy="840050"/>
            </a:xfrm>
            <a:prstGeom prst="round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defTabSz="1066800">
                <a:lnSpc>
                  <a:spcPct val="90000"/>
                </a:lnSpc>
                <a:defRPr/>
              </a:pPr>
              <a:r>
                <a:rPr lang="el-GR" sz="2000" b="1" dirty="0"/>
                <a:t> </a:t>
              </a:r>
            </a:p>
          </p:txBody>
        </p:sp>
        <p:sp>
          <p:nvSpPr>
            <p:cNvPr id="13" name="Rounded Rectangle 4"/>
            <p:cNvSpPr/>
            <p:nvPr/>
          </p:nvSpPr>
          <p:spPr>
            <a:xfrm>
              <a:off x="399960" y="302251"/>
              <a:ext cx="3762856" cy="756045"/>
            </a:xfrm>
            <a:prstGeom prst="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defTabSz="1066800">
                <a:lnSpc>
                  <a:spcPct val="90000"/>
                </a:lnSpc>
                <a:defRPr/>
              </a:pPr>
              <a:r>
                <a:rPr lang="el-GR" sz="2000" b="1" dirty="0"/>
                <a:t>Θεσμός Προσωπικού Ιατρού - Πλεονεκτήματα</a:t>
              </a:r>
              <a:endParaRPr lang="en-GB" sz="2000" b="1" dirty="0"/>
            </a:p>
          </p:txBody>
        </p:sp>
      </p:grpSp>
      <p:sp>
        <p:nvSpPr>
          <p:cNvPr id="8" name="Rectangle 7"/>
          <p:cNvSpPr/>
          <p:nvPr/>
        </p:nvSpPr>
        <p:spPr>
          <a:xfrm>
            <a:off x="627299" y="1520470"/>
            <a:ext cx="7802489" cy="3785652"/>
          </a:xfrm>
          <a:prstGeom prst="rect">
            <a:avLst/>
          </a:prstGeom>
          <a:solidFill>
            <a:schemeClr val="accent6">
              <a:lumMod val="20000"/>
              <a:lumOff val="80000"/>
            </a:schemeClr>
          </a:solidFill>
          <a:ln>
            <a:solidFill>
              <a:schemeClr val="accent6"/>
            </a:solidFill>
          </a:ln>
        </p:spPr>
        <p:txBody>
          <a:bodyPr wrap="square">
            <a:spAutoFit/>
          </a:bodyPr>
          <a:lstStyle/>
          <a:p>
            <a:pPr lvl="0">
              <a:buFont typeface="Wingdings" pitchFamily="2" charset="2"/>
              <a:buChar char="ü"/>
            </a:pPr>
            <a:r>
              <a:rPr lang="el-GR" sz="2400" dirty="0"/>
              <a:t> Οργανωμένη πρωτοβάθμια φροντίδα υγείας με έμφαση στην πρόληψη</a:t>
            </a:r>
            <a:endParaRPr lang="en-GB" sz="2400" dirty="0"/>
          </a:p>
          <a:p>
            <a:pPr lvl="0">
              <a:buFont typeface="Wingdings" pitchFamily="2" charset="2"/>
              <a:buChar char="ü"/>
            </a:pPr>
            <a:endParaRPr lang="en-GB" sz="2400" dirty="0"/>
          </a:p>
          <a:p>
            <a:pPr lvl="0">
              <a:buFont typeface="Wingdings" pitchFamily="2" charset="2"/>
              <a:buChar char="ü"/>
            </a:pPr>
            <a:r>
              <a:rPr lang="el-GR" sz="2400" dirty="0"/>
              <a:t> Ορθή πλοήγηση των δικαιούχων μέσα στο Σύστημα</a:t>
            </a:r>
            <a:endParaRPr lang="en-GB" sz="2400" dirty="0"/>
          </a:p>
          <a:p>
            <a:pPr lvl="0">
              <a:buFont typeface="Wingdings" pitchFamily="2" charset="2"/>
              <a:buChar char="ü"/>
            </a:pPr>
            <a:endParaRPr lang="en-GB" sz="2400" dirty="0"/>
          </a:p>
          <a:p>
            <a:pPr lvl="0">
              <a:buFont typeface="Wingdings" pitchFamily="2" charset="2"/>
              <a:buChar char="ü"/>
            </a:pPr>
            <a:r>
              <a:rPr lang="el-GR" sz="2400" dirty="0"/>
              <a:t> Αποφόρτιση των Ειδικών Ιατρών από μη εξειδικευμένα περιστατικά</a:t>
            </a:r>
            <a:endParaRPr lang="en-GB" sz="2400" dirty="0">
              <a:solidFill>
                <a:srgbClr val="FF0000"/>
              </a:solidFill>
            </a:endParaRPr>
          </a:p>
          <a:p>
            <a:pPr lvl="0">
              <a:buFont typeface="Wingdings" pitchFamily="2" charset="2"/>
              <a:buChar char="ü"/>
            </a:pPr>
            <a:endParaRPr lang="en-GB" sz="2400" dirty="0"/>
          </a:p>
          <a:p>
            <a:pPr lvl="0">
              <a:buFont typeface="Wingdings" pitchFamily="2" charset="2"/>
              <a:buChar char="ü"/>
            </a:pPr>
            <a:r>
              <a:rPr lang="el-GR" sz="2400" dirty="0"/>
              <a:t> Διαφάνεια για την ποσότητα και την ποιότητα των παρεχόμενων υπηρεσιών</a:t>
            </a:r>
            <a:endParaRPr lang="en-GB" sz="2400" dirty="0"/>
          </a:p>
        </p:txBody>
      </p:sp>
    </p:spTree>
  </p:cSld>
  <p:clrMapOvr>
    <a:masterClrMapping/>
  </p:clrMapOvr>
  <p:transition spd="med">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Slide Number Placeholder 2"/>
          <p:cNvSpPr>
            <a:spLocks noGrp="1"/>
          </p:cNvSpPr>
          <p:nvPr>
            <p:ph type="sldNum" sz="quarter" idx="10"/>
          </p:nvPr>
        </p:nvSpPr>
        <p:spPr>
          <a:noFill/>
        </p:spPr>
        <p:txBody>
          <a:bodyPr/>
          <a:lstStyle/>
          <a:p>
            <a:fld id="{8151A0C8-AFDE-4BD0-8B4C-6CA689FCC038}" type="slidenum">
              <a:rPr lang="en-GB" smtClean="0">
                <a:ea typeface="ＭＳ Ｐゴシック" pitchFamily="34" charset="-128"/>
              </a:rPr>
              <a:pPr/>
              <a:t>17</a:t>
            </a:fld>
            <a:endParaRPr lang="en-GB" dirty="0">
              <a:ea typeface="ＭＳ Ｐゴシック" pitchFamily="34" charset="-128"/>
            </a:endParaRPr>
          </a:p>
        </p:txBody>
      </p:sp>
      <p:graphicFrame>
        <p:nvGraphicFramePr>
          <p:cNvPr id="4" name="Diagram 3"/>
          <p:cNvGraphicFramePr/>
          <p:nvPr/>
        </p:nvGraphicFramePr>
        <p:xfrm>
          <a:off x="560537" y="1144269"/>
          <a:ext cx="7632848" cy="46856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p:cNvGrpSpPr>
            <a:grpSpLocks/>
          </p:cNvGrpSpPr>
          <p:nvPr/>
        </p:nvGrpSpPr>
        <p:grpSpPr bwMode="auto">
          <a:xfrm>
            <a:off x="141288" y="158750"/>
            <a:ext cx="5940535" cy="381600"/>
            <a:chOff x="359153" y="260248"/>
            <a:chExt cx="3844470" cy="840050"/>
          </a:xfrm>
        </p:grpSpPr>
        <p:sp>
          <p:nvSpPr>
            <p:cNvPr id="9" name="Rounded Rectangle 8"/>
            <p:cNvSpPr/>
            <p:nvPr/>
          </p:nvSpPr>
          <p:spPr>
            <a:xfrm>
              <a:off x="359153" y="260248"/>
              <a:ext cx="3844470" cy="840050"/>
            </a:xfrm>
            <a:prstGeom prst="round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10" name="Rounded Rectangle 4"/>
            <p:cNvSpPr/>
            <p:nvPr/>
          </p:nvSpPr>
          <p:spPr>
            <a:xfrm>
              <a:off x="399960" y="302251"/>
              <a:ext cx="3762856" cy="756045"/>
            </a:xfrm>
            <a:prstGeom prst="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defTabSz="1066800">
                <a:lnSpc>
                  <a:spcPct val="90000"/>
                </a:lnSpc>
                <a:defRPr/>
              </a:pPr>
              <a:r>
                <a:rPr lang="el-GR" sz="2000" b="1" dirty="0"/>
                <a:t>Θεσμός Προσωπικού Ιατρού - Λειτουργία</a:t>
              </a:r>
              <a:endParaRPr lang="en-GB" sz="2000" b="1" dirty="0"/>
            </a:p>
          </p:txBody>
        </p:sp>
      </p:grpSp>
    </p:spTree>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02019" y="1265288"/>
            <a:ext cx="8618537" cy="4431983"/>
          </a:xfrm>
          <a:solidFill>
            <a:schemeClr val="accent6">
              <a:lumMod val="20000"/>
              <a:lumOff val="80000"/>
            </a:schemeClr>
          </a:solidFill>
          <a:ln>
            <a:solidFill>
              <a:schemeClr val="accent6"/>
            </a:solidFill>
          </a:ln>
        </p:spPr>
        <p:txBody>
          <a:bodyPr/>
          <a:lstStyle/>
          <a:p>
            <a:pPr algn="just">
              <a:buFont typeface="Wingdings" pitchFamily="2" charset="2"/>
              <a:buChar char="Ø"/>
            </a:pPr>
            <a:endParaRPr lang="el-GR" sz="1800" b="1" kern="1200" dirty="0">
              <a:solidFill>
                <a:schemeClr val="accent6"/>
              </a:solidFill>
              <a:latin typeface="Arial" pitchFamily="34" charset="0"/>
              <a:ea typeface="ＭＳ Ｐゴシック" pitchFamily="34" charset="-128"/>
              <a:cs typeface="+mn-cs"/>
            </a:endParaRPr>
          </a:p>
          <a:p>
            <a:pPr algn="just">
              <a:buFont typeface="Wingdings" pitchFamily="2" charset="2"/>
              <a:buChar char="Ø"/>
            </a:pPr>
            <a:r>
              <a:rPr lang="el-GR" sz="1800" b="1" kern="1200" dirty="0">
                <a:solidFill>
                  <a:srgbClr val="6980BC"/>
                </a:solidFill>
                <a:latin typeface="Arial" pitchFamily="34" charset="0"/>
                <a:ea typeface="ＭＳ Ｐゴシック" pitchFamily="34" charset="-128"/>
                <a:cs typeface="+mn-cs"/>
              </a:rPr>
              <a:t>Από τον Επίτροπο Εποπτείας</a:t>
            </a:r>
            <a:r>
              <a:rPr lang="en-GB" sz="1800" b="1" kern="1200" dirty="0">
                <a:solidFill>
                  <a:srgbClr val="6980BC"/>
                </a:solidFill>
                <a:latin typeface="Arial" pitchFamily="34" charset="0"/>
                <a:ea typeface="ＭＳ Ｐゴシック" pitchFamily="34" charset="-128"/>
                <a:cs typeface="+mn-cs"/>
              </a:rPr>
              <a:t> </a:t>
            </a:r>
            <a:r>
              <a:rPr lang="el-GR" sz="1800" b="1" kern="1200" dirty="0">
                <a:solidFill>
                  <a:srgbClr val="6980BC"/>
                </a:solidFill>
                <a:latin typeface="Arial" pitchFamily="34" charset="0"/>
                <a:ea typeface="ＭＳ Ｐゴシック" pitchFamily="34" charset="-128"/>
                <a:cs typeface="+mn-cs"/>
              </a:rPr>
              <a:t> </a:t>
            </a:r>
          </a:p>
          <a:p>
            <a:pPr lvl="4" algn="just">
              <a:buFont typeface="Wingdings" pitchFamily="2" charset="2"/>
              <a:buChar char="ü"/>
            </a:pPr>
            <a:r>
              <a:rPr lang="el-GR" sz="1800" b="1" dirty="0"/>
              <a:t>εξετάζει αυτεπάγγελτα ή κατόπιν υποβολής παραπόνου </a:t>
            </a:r>
            <a:r>
              <a:rPr lang="en-GB" sz="1800" b="1" dirty="0"/>
              <a:t> </a:t>
            </a:r>
            <a:r>
              <a:rPr lang="el-GR" sz="1800" b="1" dirty="0"/>
              <a:t>οποιαδήποτε απόφαση, πράξη ή παράλειψη του Οργανισμού ή/και των παροχέων υπηρεσιών φροντίδας υγείας. </a:t>
            </a:r>
            <a:endParaRPr lang="en-GB" sz="1800" b="1" dirty="0"/>
          </a:p>
          <a:p>
            <a:pPr algn="just">
              <a:buFont typeface="Wingdings" pitchFamily="2" charset="2"/>
              <a:buChar char="Ø"/>
            </a:pPr>
            <a:endParaRPr lang="el-GR" sz="1800" b="1" kern="1200" dirty="0">
              <a:solidFill>
                <a:srgbClr val="FF0000"/>
              </a:solidFill>
              <a:latin typeface="Arial" pitchFamily="34" charset="0"/>
              <a:ea typeface="ＭＳ Ｐゴシック" pitchFamily="34" charset="-128"/>
              <a:cs typeface="+mn-cs"/>
            </a:endParaRPr>
          </a:p>
          <a:p>
            <a:pPr algn="just">
              <a:buFont typeface="Wingdings" pitchFamily="2" charset="2"/>
              <a:buChar char="Ø"/>
            </a:pPr>
            <a:r>
              <a:rPr lang="el-GR" sz="1800" b="1" kern="1200" dirty="0">
                <a:solidFill>
                  <a:srgbClr val="6980BC"/>
                </a:solidFill>
                <a:latin typeface="Arial" pitchFamily="34" charset="0"/>
                <a:ea typeface="ＭＳ Ｐゴシック" pitchFamily="34" charset="-128"/>
              </a:rPr>
              <a:t>Από τον Οργανισμό  Ασφάλισης Υγείας  </a:t>
            </a:r>
            <a:endParaRPr lang="en-GB" sz="1800" b="1" kern="1200" dirty="0">
              <a:solidFill>
                <a:srgbClr val="6980BC"/>
              </a:solidFill>
              <a:latin typeface="Arial" pitchFamily="34" charset="0"/>
              <a:ea typeface="ＭＳ Ｐゴシック" pitchFamily="34" charset="-128"/>
            </a:endParaRPr>
          </a:p>
          <a:p>
            <a:pPr lvl="4" algn="just">
              <a:buFont typeface="Wingdings" pitchFamily="2" charset="2"/>
              <a:buChar char="ü"/>
            </a:pPr>
            <a:r>
              <a:rPr lang="el-GR" sz="1800" b="1" dirty="0"/>
              <a:t>παρακολουθεί και ελέγχει την τήρηση των όρων και προϋποθέσεων της σύμβασης και την απόδοση των </a:t>
            </a:r>
            <a:r>
              <a:rPr lang="el-GR" sz="1800" b="1" dirty="0" err="1"/>
              <a:t>παροχέων</a:t>
            </a:r>
            <a:r>
              <a:rPr lang="el-GR" sz="1800" b="1" dirty="0"/>
              <a:t> υπηρεσιών φροντίδας υγείας</a:t>
            </a:r>
          </a:p>
          <a:p>
            <a:pPr lvl="4" algn="just">
              <a:buFont typeface="Wingdings" pitchFamily="2" charset="2"/>
              <a:buChar char="ü"/>
            </a:pPr>
            <a:r>
              <a:rPr lang="el-GR" sz="1800" b="1" dirty="0"/>
              <a:t>εξετάζει παραβάσεις του Νόμου</a:t>
            </a:r>
            <a:endParaRPr lang="en-GB" sz="1800" b="1" dirty="0"/>
          </a:p>
          <a:p>
            <a:pPr lvl="4" algn="just">
              <a:buFont typeface="Wingdings" pitchFamily="2" charset="2"/>
              <a:buChar char="ü"/>
            </a:pPr>
            <a:r>
              <a:rPr lang="el-GR" sz="1800" b="1" dirty="0"/>
              <a:t>επιβάλλει πρόστιμα ή άλλες κυρώσεις </a:t>
            </a:r>
            <a:endParaRPr lang="en-GB" sz="1800" dirty="0"/>
          </a:p>
          <a:p>
            <a:pPr algn="just">
              <a:buFont typeface="Wingdings" pitchFamily="2" charset="2"/>
              <a:buChar char="Ø"/>
            </a:pPr>
            <a:endParaRPr lang="el-GR" sz="1800" b="1" kern="1200" dirty="0">
              <a:solidFill>
                <a:schemeClr val="accent6"/>
              </a:solidFill>
              <a:latin typeface="Arial" pitchFamily="34" charset="0"/>
              <a:ea typeface="ＭＳ Ｐゴシック" pitchFamily="34" charset="-128"/>
              <a:cs typeface="+mn-cs"/>
            </a:endParaRPr>
          </a:p>
          <a:p>
            <a:pPr algn="just">
              <a:buFont typeface="Wingdings" pitchFamily="2" charset="2"/>
              <a:buChar char="Ø"/>
            </a:pPr>
            <a:endParaRPr lang="el-GR" sz="1800" b="1" kern="1200" dirty="0">
              <a:solidFill>
                <a:schemeClr val="accent6"/>
              </a:solidFill>
              <a:latin typeface="Arial" pitchFamily="34" charset="0"/>
              <a:ea typeface="ＭＳ Ｐゴシック" pitchFamily="34" charset="-128"/>
              <a:cs typeface="+mn-cs"/>
            </a:endParaRPr>
          </a:p>
          <a:p>
            <a:pPr algn="just">
              <a:buFont typeface="Wingdings" pitchFamily="2" charset="2"/>
              <a:buChar char="Ø"/>
            </a:pPr>
            <a:r>
              <a:rPr lang="el-GR" sz="1800" b="1" kern="1200" dirty="0">
                <a:solidFill>
                  <a:srgbClr val="6980BC"/>
                </a:solidFill>
                <a:latin typeface="Arial" pitchFamily="34" charset="0"/>
                <a:ea typeface="ＭＳ Ｐゴシック" pitchFamily="34" charset="-128"/>
                <a:cs typeface="+mn-cs"/>
              </a:rPr>
              <a:t>Από την Επιτροπή Ελέγχου  </a:t>
            </a:r>
          </a:p>
          <a:p>
            <a:pPr lvl="4" algn="just">
              <a:buFont typeface="Wingdings" pitchFamily="2" charset="2"/>
              <a:buChar char="ü"/>
            </a:pPr>
            <a:r>
              <a:rPr lang="el-GR" sz="1800" b="1" dirty="0"/>
              <a:t>Εξειδικευμένη επιτροπή η οποία ελέγχει την ποιότητα στην παροχή  υπηρεσιών φροντίδας υγείας </a:t>
            </a:r>
            <a:endParaRPr lang="en-GB" sz="1200" dirty="0"/>
          </a:p>
        </p:txBody>
      </p:sp>
      <p:sp>
        <p:nvSpPr>
          <p:cNvPr id="4" name="Slide Number Placeholder 3"/>
          <p:cNvSpPr>
            <a:spLocks noGrp="1"/>
          </p:cNvSpPr>
          <p:nvPr>
            <p:ph type="sldNum" sz="quarter" idx="10"/>
          </p:nvPr>
        </p:nvSpPr>
        <p:spPr/>
        <p:txBody>
          <a:bodyPr/>
          <a:lstStyle/>
          <a:p>
            <a:pPr>
              <a:defRPr/>
            </a:pPr>
            <a:fld id="{FC56D7CD-E235-4870-AE55-3445A16CBC70}" type="slidenum">
              <a:rPr lang="en-GB" smtClean="0"/>
              <a:pPr>
                <a:defRPr/>
              </a:pPr>
              <a:t>18</a:t>
            </a:fld>
            <a:endParaRPr lang="en-GB"/>
          </a:p>
        </p:txBody>
      </p:sp>
      <p:grpSp>
        <p:nvGrpSpPr>
          <p:cNvPr id="2" name="Group 4"/>
          <p:cNvGrpSpPr>
            <a:grpSpLocks/>
          </p:cNvGrpSpPr>
          <p:nvPr/>
        </p:nvGrpSpPr>
        <p:grpSpPr bwMode="auto">
          <a:xfrm>
            <a:off x="241747" y="247648"/>
            <a:ext cx="6329571" cy="381600"/>
            <a:chOff x="359153" y="455259"/>
            <a:chExt cx="3844470" cy="1072566"/>
          </a:xfrm>
        </p:grpSpPr>
        <p:sp>
          <p:nvSpPr>
            <p:cNvPr id="6" name="Rounded Rectangle 5"/>
            <p:cNvSpPr/>
            <p:nvPr/>
          </p:nvSpPr>
          <p:spPr>
            <a:xfrm>
              <a:off x="359153" y="455259"/>
              <a:ext cx="3844470" cy="1072566"/>
            </a:xfrm>
            <a:prstGeom prst="round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7" name="Rounded Rectangle 4"/>
            <p:cNvSpPr/>
            <p:nvPr/>
          </p:nvSpPr>
          <p:spPr>
            <a:xfrm>
              <a:off x="371844" y="557265"/>
              <a:ext cx="3521555" cy="946725"/>
            </a:xfrm>
            <a:prstGeom prst="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defTabSz="1066800">
                <a:lnSpc>
                  <a:spcPct val="90000"/>
                </a:lnSpc>
                <a:defRPr/>
              </a:pPr>
              <a:r>
                <a:rPr lang="el-GR" sz="2000" b="1" dirty="0"/>
                <a:t>Έλεγχος και Εποπτεία</a:t>
              </a:r>
              <a:endParaRPr lang="en-GB" sz="2000" b="1" dirty="0"/>
            </a:p>
          </p:txBody>
        </p:sp>
      </p:grpSp>
    </p:spTree>
  </p:cSld>
  <p:clrMapOvr>
    <a:masterClrMapping/>
  </p:clrMapOvr>
  <p:transition spd="med">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7763" r:id="rId6" imgW="0" imgH="0" progId="">
                  <p:embed/>
                </p:oleObj>
              </mc:Choice>
              <mc:Fallback>
                <p:oleObj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Slide Number Placeholder 9"/>
          <p:cNvSpPr>
            <a:spLocks noGrp="1"/>
          </p:cNvSpPr>
          <p:nvPr>
            <p:ph type="sldNum" sz="quarter" idx="10"/>
          </p:nvPr>
        </p:nvSpPr>
        <p:spPr>
          <a:xfrm>
            <a:off x="6870700" y="6511925"/>
            <a:ext cx="1866900" cy="184150"/>
          </a:xfrm>
        </p:spPr>
        <p:txBody>
          <a:bodyPr/>
          <a:lstStyle/>
          <a:p>
            <a:pPr>
              <a:defRPr/>
            </a:pPr>
            <a:fld id="{00C5916A-11BF-45C3-BB8D-BA84E1298393}" type="slidenum">
              <a:rPr lang="en-US" smtClean="0"/>
              <a:pPr>
                <a:defRPr/>
              </a:pPr>
              <a:t>1</a:t>
            </a:fld>
            <a:endParaRPr lang="en-US" dirty="0"/>
          </a:p>
        </p:txBody>
      </p:sp>
      <p:sp>
        <p:nvSpPr>
          <p:cNvPr id="1028" name="Rectangle 4"/>
          <p:cNvSpPr>
            <a:spLocks noChangeArrowheads="1"/>
          </p:cNvSpPr>
          <p:nvPr>
            <p:custDataLst>
              <p:tags r:id="rId3"/>
            </p:custDataLst>
          </p:nvPr>
        </p:nvSpPr>
        <p:spPr bwMode="gray">
          <a:xfrm>
            <a:off x="983559" y="1535113"/>
            <a:ext cx="5564188" cy="2769989"/>
          </a:xfrm>
          <a:prstGeom prst="rect">
            <a:avLst/>
          </a:prstGeom>
          <a:noFill/>
          <a:ln w="9525">
            <a:noFill/>
            <a:miter lim="800000"/>
            <a:headEnd/>
            <a:tailEnd/>
          </a:ln>
        </p:spPr>
        <p:txBody>
          <a:bodyPr wrap="square" lIns="0" tIns="0" rIns="0" bIns="0">
            <a:spAutoFit/>
          </a:bodyPr>
          <a:lstStyle/>
          <a:p>
            <a:pPr marL="458788" lvl="1" indent="-457200" defTabSz="893763">
              <a:lnSpc>
                <a:spcPct val="150000"/>
              </a:lnSpc>
              <a:buClr>
                <a:srgbClr val="000000"/>
              </a:buClr>
              <a:buSzPct val="120000"/>
              <a:buFont typeface="Arial" pitchFamily="34" charset="0"/>
              <a:buAutoNum type="arabicPeriod"/>
            </a:pPr>
            <a:r>
              <a:rPr lang="el-GR" sz="2400" dirty="0"/>
              <a:t>Υφιστάμενη Κατάσταση</a:t>
            </a:r>
          </a:p>
          <a:p>
            <a:pPr marL="458788" lvl="1" indent="-457200" defTabSz="893763">
              <a:lnSpc>
                <a:spcPct val="150000"/>
              </a:lnSpc>
              <a:buClr>
                <a:srgbClr val="000000"/>
              </a:buClr>
              <a:buSzPct val="120000"/>
              <a:buFont typeface="Arial" pitchFamily="34" charset="0"/>
              <a:buAutoNum type="arabicPeriod"/>
            </a:pPr>
            <a:r>
              <a:rPr lang="el-GR" sz="2400" dirty="0"/>
              <a:t>Κύρια χαρακτηριστικά ΓεΣΥ</a:t>
            </a:r>
          </a:p>
          <a:p>
            <a:pPr marL="458788" lvl="1" indent="-457200" defTabSz="893763">
              <a:lnSpc>
                <a:spcPct val="150000"/>
              </a:lnSpc>
              <a:buClr>
                <a:srgbClr val="000000"/>
              </a:buClr>
              <a:buSzPct val="120000"/>
              <a:buFont typeface="Arial" pitchFamily="34" charset="0"/>
              <a:buAutoNum type="arabicPeriod"/>
            </a:pPr>
            <a:r>
              <a:rPr lang="el-GR" sz="2400" dirty="0"/>
              <a:t>Οικονομική Πτυχή &amp; Χρηματοδότηση</a:t>
            </a:r>
          </a:p>
          <a:p>
            <a:pPr marL="458788" lvl="1" indent="-457200" defTabSz="893763">
              <a:lnSpc>
                <a:spcPct val="150000"/>
              </a:lnSpc>
              <a:buClr>
                <a:srgbClr val="000000"/>
              </a:buClr>
              <a:buSzPct val="120000"/>
              <a:buFont typeface="Arial" pitchFamily="34" charset="0"/>
              <a:buAutoNum type="arabicPeriod"/>
            </a:pPr>
            <a:r>
              <a:rPr lang="el-GR" sz="2400" dirty="0"/>
              <a:t>Σύστημα Πληροφορικής</a:t>
            </a:r>
          </a:p>
          <a:p>
            <a:pPr marL="458788" lvl="1" indent="-457200" defTabSz="893763">
              <a:lnSpc>
                <a:spcPct val="150000"/>
              </a:lnSpc>
              <a:buClr>
                <a:srgbClr val="000000"/>
              </a:buClr>
              <a:buSzPct val="120000"/>
              <a:buFont typeface="Arial" pitchFamily="34" charset="0"/>
              <a:buAutoNum type="arabicPeriod"/>
            </a:pPr>
            <a:r>
              <a:rPr lang="el-GR" sz="2400" dirty="0"/>
              <a:t>Σύνοψη</a:t>
            </a:r>
          </a:p>
        </p:txBody>
      </p:sp>
      <p:sp>
        <p:nvSpPr>
          <p:cNvPr id="1030" name="Line 10"/>
          <p:cNvSpPr>
            <a:spLocks noChangeShapeType="1"/>
          </p:cNvSpPr>
          <p:nvPr/>
        </p:nvSpPr>
        <p:spPr bwMode="gray">
          <a:xfrm>
            <a:off x="676852" y="1008063"/>
            <a:ext cx="7183438" cy="0"/>
          </a:xfrm>
          <a:prstGeom prst="line">
            <a:avLst/>
          </a:prstGeom>
          <a:noFill/>
          <a:ln w="28575">
            <a:solidFill>
              <a:schemeClr val="folHlink"/>
            </a:solidFill>
            <a:round/>
            <a:headEnd/>
            <a:tailEnd/>
          </a:ln>
        </p:spPr>
        <p:txBody>
          <a:bodyPr wrap="none" lIns="91430" tIns="45715" rIns="91430" bIns="45715" anchor="ctr"/>
          <a:lstStyle/>
          <a:p>
            <a:endParaRPr lang="el-GR" dirty="0"/>
          </a:p>
        </p:txBody>
      </p:sp>
      <p:sp>
        <p:nvSpPr>
          <p:cNvPr id="1031" name="Line 11"/>
          <p:cNvSpPr>
            <a:spLocks noChangeShapeType="1"/>
          </p:cNvSpPr>
          <p:nvPr/>
        </p:nvSpPr>
        <p:spPr bwMode="gray">
          <a:xfrm>
            <a:off x="687965" y="5829300"/>
            <a:ext cx="7183437" cy="0"/>
          </a:xfrm>
          <a:prstGeom prst="line">
            <a:avLst/>
          </a:prstGeom>
          <a:noFill/>
          <a:ln w="28575">
            <a:solidFill>
              <a:schemeClr val="folHlink"/>
            </a:solidFill>
            <a:round/>
            <a:headEnd/>
            <a:tailEnd/>
          </a:ln>
        </p:spPr>
        <p:txBody>
          <a:bodyPr wrap="none" lIns="91430" tIns="45715" rIns="91430" bIns="45715" anchor="ctr"/>
          <a:lstStyle/>
          <a:p>
            <a:endParaRPr lang="el-GR" dirty="0"/>
          </a:p>
        </p:txBody>
      </p:sp>
      <p:sp>
        <p:nvSpPr>
          <p:cNvPr id="11" name="Rounded Rectangle 10"/>
          <p:cNvSpPr/>
          <p:nvPr/>
        </p:nvSpPr>
        <p:spPr>
          <a:xfrm>
            <a:off x="344854" y="228416"/>
            <a:ext cx="5522546" cy="425634"/>
          </a:xfrm>
          <a:prstGeom prst="roundRect">
            <a:avLst/>
          </a:prstGeom>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marL="514350" indent="-514350"/>
            <a:r>
              <a:rPr lang="el-GR" sz="2000" b="1" dirty="0">
                <a:solidFill>
                  <a:schemeClr val="bg1"/>
                </a:solidFill>
              </a:rPr>
              <a:t>Περιεχόμενα</a:t>
            </a:r>
            <a:endParaRPr lang="en-US" sz="2000" b="1" dirty="0">
              <a:solidFill>
                <a:schemeClr val="bg1"/>
              </a:solidFill>
            </a:endParaRPr>
          </a:p>
        </p:txBody>
      </p:sp>
    </p:spTree>
  </p:cSld>
  <p:clrMapOvr>
    <a:masterClrMapping/>
  </p:clrMapOvr>
  <p:transition spd="med">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216985" y="1648047"/>
            <a:ext cx="6477000" cy="1839432"/>
          </a:xfrm>
          <a:prstGeom prst="rect">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p>
            <a:pPr algn="ctr">
              <a:defRPr/>
            </a:pPr>
            <a:endParaRPr lang="en-US" sz="1100" b="1" dirty="0">
              <a:solidFill>
                <a:schemeClr val="tx1"/>
              </a:solidFill>
            </a:endParaRPr>
          </a:p>
        </p:txBody>
      </p:sp>
      <p:sp>
        <p:nvSpPr>
          <p:cNvPr id="23557" name="TextBox 3"/>
          <p:cNvSpPr txBox="1">
            <a:spLocks noChangeArrowheads="1"/>
          </p:cNvSpPr>
          <p:nvPr/>
        </p:nvSpPr>
        <p:spPr bwMode="auto">
          <a:xfrm>
            <a:off x="1212850" y="2036199"/>
            <a:ext cx="6473825" cy="921484"/>
          </a:xfrm>
          <a:prstGeom prst="rect">
            <a:avLst/>
          </a:prstGeom>
          <a:noFill/>
          <a:ln w="9525">
            <a:noFill/>
            <a:miter lim="800000"/>
            <a:headEnd/>
            <a:tailEnd/>
          </a:ln>
        </p:spPr>
        <p:txBody>
          <a:bodyPr lIns="89611" tIns="44806" rIns="89611" bIns="44806">
            <a:spAutoFit/>
          </a:bodyPr>
          <a:lstStyle/>
          <a:p>
            <a:pPr algn="ctr"/>
            <a:r>
              <a:rPr lang="el-GR" sz="2700" b="1" dirty="0">
                <a:solidFill>
                  <a:schemeClr val="bg1"/>
                </a:solidFill>
              </a:rPr>
              <a:t>3. Οικονομική Πτυχή και Χρηματοδότηση του ΓεΣΥ</a:t>
            </a:r>
            <a:endParaRPr lang="en-US" sz="2700" b="1" dirty="0">
              <a:solidFill>
                <a:schemeClr val="bg1"/>
              </a:solidFill>
            </a:endParaRPr>
          </a:p>
        </p:txBody>
      </p:sp>
      <p:sp>
        <p:nvSpPr>
          <p:cNvPr id="10246" name="Slide Number Placeholder 5"/>
          <p:cNvSpPr>
            <a:spLocks noGrp="1"/>
          </p:cNvSpPr>
          <p:nvPr>
            <p:ph type="sldNum" sz="quarter" idx="10"/>
          </p:nvPr>
        </p:nvSpPr>
        <p:spPr>
          <a:xfrm>
            <a:off x="6870700" y="6511925"/>
            <a:ext cx="1866900" cy="169863"/>
          </a:xfrm>
        </p:spPr>
        <p:txBody>
          <a:bodyPr/>
          <a:lstStyle/>
          <a:p>
            <a:pPr>
              <a:defRPr/>
            </a:pPr>
            <a:fld id="{CE2741B3-C35C-4575-AC42-DC7C0F62FFD2}" type="slidenum">
              <a:rPr lang="en-US" smtClean="0">
                <a:ea typeface="ＭＳ Ｐゴシック" pitchFamily="34" charset="-128"/>
              </a:rPr>
              <a:pPr>
                <a:defRPr/>
              </a:pPr>
              <a:t>19</a:t>
            </a:fld>
            <a:endParaRPr lang="en-US" dirty="0">
              <a:ea typeface="ＭＳ Ｐゴシック" pitchFamily="34" charset="-128"/>
            </a:endParaRPr>
          </a:p>
        </p:txBody>
      </p:sp>
    </p:spTree>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Shape 35"/>
          <p:cNvSpPr/>
          <p:nvPr/>
        </p:nvSpPr>
        <p:spPr>
          <a:xfrm rot="374183" flipH="1">
            <a:off x="4360051" y="2305099"/>
            <a:ext cx="2611359" cy="2833115"/>
          </a:xfrm>
          <a:prstGeom prst="leftCircularArrow">
            <a:avLst>
              <a:gd name="adj1" fmla="val 2853"/>
              <a:gd name="adj2" fmla="val 348643"/>
              <a:gd name="adj3" fmla="val 2121194"/>
              <a:gd name="adj4" fmla="val 9021530"/>
              <a:gd name="adj5" fmla="val 3329"/>
            </a:avLst>
          </a:prstGeom>
          <a:solidFill>
            <a:schemeClr val="accent1">
              <a:lumMod val="60000"/>
              <a:lumOff val="40000"/>
            </a:schemeClr>
          </a:solidFill>
          <a:ln>
            <a:solidFill>
              <a:schemeClr val="accent1"/>
            </a:solidFill>
          </a:ln>
        </p:spPr>
        <p:style>
          <a:lnRef idx="0">
            <a:scrgbClr r="0" g="0" b="0"/>
          </a:lnRef>
          <a:fillRef idx="3">
            <a:scrgbClr r="0" g="0" b="0"/>
          </a:fillRef>
          <a:effectRef idx="2">
            <a:schemeClr val="accent6">
              <a:tint val="60000"/>
              <a:hueOff val="0"/>
              <a:satOff val="0"/>
              <a:lumOff val="0"/>
              <a:alphaOff val="0"/>
            </a:schemeClr>
          </a:effectRef>
          <a:fontRef idx="minor">
            <a:schemeClr val="lt1"/>
          </a:fontRef>
        </p:style>
      </p:sp>
      <p:grpSp>
        <p:nvGrpSpPr>
          <p:cNvPr id="22" name="Group 21"/>
          <p:cNvGrpSpPr/>
          <p:nvPr/>
        </p:nvGrpSpPr>
        <p:grpSpPr>
          <a:xfrm>
            <a:off x="178266" y="1082610"/>
            <a:ext cx="8295883" cy="4281170"/>
            <a:chOff x="178266" y="742354"/>
            <a:chExt cx="8295883" cy="4281170"/>
          </a:xfrm>
        </p:grpSpPr>
        <p:sp>
          <p:nvSpPr>
            <p:cNvPr id="23" name="Rectangle 22"/>
            <p:cNvSpPr/>
            <p:nvPr/>
          </p:nvSpPr>
          <p:spPr>
            <a:xfrm>
              <a:off x="178266" y="742354"/>
              <a:ext cx="8184684" cy="4281170"/>
            </a:xfrm>
            <a:prstGeom prst="rect">
              <a:avLst/>
            </a:prstGeom>
            <a:noFill/>
            <a:ln>
              <a:solidFill>
                <a:schemeClr val="accent1"/>
              </a:solidFill>
            </a:ln>
          </p:spPr>
        </p:sp>
        <p:sp>
          <p:nvSpPr>
            <p:cNvPr id="24" name="Freeform 23"/>
            <p:cNvSpPr/>
            <p:nvPr/>
          </p:nvSpPr>
          <p:spPr>
            <a:xfrm>
              <a:off x="182080" y="1920437"/>
              <a:ext cx="2787708" cy="2141030"/>
            </a:xfrm>
            <a:custGeom>
              <a:avLst/>
              <a:gdLst>
                <a:gd name="connsiteX0" fmla="*/ 0 w 2787708"/>
                <a:gd name="connsiteY0" fmla="*/ 214103 h 2141030"/>
                <a:gd name="connsiteX1" fmla="*/ 62710 w 2787708"/>
                <a:gd name="connsiteY1" fmla="*/ 62709 h 2141030"/>
                <a:gd name="connsiteX2" fmla="*/ 214104 w 2787708"/>
                <a:gd name="connsiteY2" fmla="*/ 0 h 2141030"/>
                <a:gd name="connsiteX3" fmla="*/ 2573605 w 2787708"/>
                <a:gd name="connsiteY3" fmla="*/ 0 h 2141030"/>
                <a:gd name="connsiteX4" fmla="*/ 2724999 w 2787708"/>
                <a:gd name="connsiteY4" fmla="*/ 62710 h 2141030"/>
                <a:gd name="connsiteX5" fmla="*/ 2787708 w 2787708"/>
                <a:gd name="connsiteY5" fmla="*/ 214104 h 2141030"/>
                <a:gd name="connsiteX6" fmla="*/ 2787708 w 2787708"/>
                <a:gd name="connsiteY6" fmla="*/ 1926927 h 2141030"/>
                <a:gd name="connsiteX7" fmla="*/ 2724999 w 2787708"/>
                <a:gd name="connsiteY7" fmla="*/ 2078321 h 2141030"/>
                <a:gd name="connsiteX8" fmla="*/ 2573605 w 2787708"/>
                <a:gd name="connsiteY8" fmla="*/ 2141030 h 2141030"/>
                <a:gd name="connsiteX9" fmla="*/ 214103 w 2787708"/>
                <a:gd name="connsiteY9" fmla="*/ 2141030 h 2141030"/>
                <a:gd name="connsiteX10" fmla="*/ 62709 w 2787708"/>
                <a:gd name="connsiteY10" fmla="*/ 2078321 h 2141030"/>
                <a:gd name="connsiteX11" fmla="*/ 0 w 2787708"/>
                <a:gd name="connsiteY11" fmla="*/ 1926927 h 2141030"/>
                <a:gd name="connsiteX12" fmla="*/ 0 w 2787708"/>
                <a:gd name="connsiteY12" fmla="*/ 214103 h 214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87708" h="2141030">
                  <a:moveTo>
                    <a:pt x="0" y="214103"/>
                  </a:moveTo>
                  <a:cubicBezTo>
                    <a:pt x="0" y="157319"/>
                    <a:pt x="22557" y="102861"/>
                    <a:pt x="62710" y="62709"/>
                  </a:cubicBezTo>
                  <a:cubicBezTo>
                    <a:pt x="102862" y="22557"/>
                    <a:pt x="157320" y="0"/>
                    <a:pt x="214104" y="0"/>
                  </a:cubicBezTo>
                  <a:lnTo>
                    <a:pt x="2573605" y="0"/>
                  </a:lnTo>
                  <a:cubicBezTo>
                    <a:pt x="2630389" y="0"/>
                    <a:pt x="2684847" y="22557"/>
                    <a:pt x="2724999" y="62710"/>
                  </a:cubicBezTo>
                  <a:cubicBezTo>
                    <a:pt x="2765151" y="102862"/>
                    <a:pt x="2787708" y="157320"/>
                    <a:pt x="2787708" y="214104"/>
                  </a:cubicBezTo>
                  <a:lnTo>
                    <a:pt x="2787708" y="1926927"/>
                  </a:lnTo>
                  <a:cubicBezTo>
                    <a:pt x="2787708" y="1983711"/>
                    <a:pt x="2765151" y="2038169"/>
                    <a:pt x="2724999" y="2078321"/>
                  </a:cubicBezTo>
                  <a:cubicBezTo>
                    <a:pt x="2684847" y="2118473"/>
                    <a:pt x="2630389" y="2141030"/>
                    <a:pt x="2573605" y="2141030"/>
                  </a:cubicBezTo>
                  <a:lnTo>
                    <a:pt x="214103" y="2141030"/>
                  </a:lnTo>
                  <a:cubicBezTo>
                    <a:pt x="157319" y="2141030"/>
                    <a:pt x="102861" y="2118473"/>
                    <a:pt x="62709" y="2078321"/>
                  </a:cubicBezTo>
                  <a:cubicBezTo>
                    <a:pt x="22557" y="2038169"/>
                    <a:pt x="0" y="1983711"/>
                    <a:pt x="0" y="1926927"/>
                  </a:cubicBezTo>
                  <a:lnTo>
                    <a:pt x="0" y="214103"/>
                  </a:lnTo>
                  <a:close/>
                </a:path>
              </a:pathLst>
            </a:custGeom>
            <a:ln>
              <a:solidFill>
                <a:schemeClr val="accent1"/>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73096" tIns="173096" rIns="173096" bIns="631889" numCol="1" spcCol="1270" anchor="t" anchorCtr="0">
              <a:noAutofit/>
            </a:bodyPr>
            <a:lstStyle/>
            <a:p>
              <a:pPr marL="114300" lvl="1" indent="-114300" algn="l" defTabSz="533400" rtl="0">
                <a:lnSpc>
                  <a:spcPct val="90000"/>
                </a:lnSpc>
                <a:spcBef>
                  <a:spcPct val="0"/>
                </a:spcBef>
                <a:spcAft>
                  <a:spcPct val="15000"/>
                </a:spcAft>
                <a:buChar char="••"/>
              </a:pPr>
              <a:r>
                <a:rPr lang="el-GR" sz="1200" b="1" kern="1200" dirty="0"/>
                <a:t>Μισθωτοί</a:t>
              </a:r>
            </a:p>
            <a:p>
              <a:pPr marL="114300" lvl="1" indent="-114300" algn="l" defTabSz="533400" rtl="0">
                <a:lnSpc>
                  <a:spcPct val="90000"/>
                </a:lnSpc>
                <a:spcBef>
                  <a:spcPct val="0"/>
                </a:spcBef>
                <a:spcAft>
                  <a:spcPct val="15000"/>
                </a:spcAft>
                <a:buChar char="••"/>
              </a:pPr>
              <a:r>
                <a:rPr lang="el-GR" sz="1200" b="1" kern="1200" dirty="0"/>
                <a:t>Εργοδότες</a:t>
              </a:r>
            </a:p>
            <a:p>
              <a:pPr marL="114300" lvl="1" indent="-114300" algn="l" defTabSz="533400" rtl="0">
                <a:lnSpc>
                  <a:spcPct val="90000"/>
                </a:lnSpc>
                <a:spcBef>
                  <a:spcPct val="0"/>
                </a:spcBef>
                <a:spcAft>
                  <a:spcPct val="15000"/>
                </a:spcAft>
                <a:buChar char="••"/>
              </a:pPr>
              <a:r>
                <a:rPr lang="el-GR" sz="1200" b="1" kern="1200" dirty="0"/>
                <a:t>Αυτοεργοδοτούμενοι</a:t>
              </a:r>
            </a:p>
            <a:p>
              <a:pPr marL="114300" lvl="1" indent="-114300" algn="l" defTabSz="533400" rtl="0">
                <a:lnSpc>
                  <a:spcPct val="90000"/>
                </a:lnSpc>
                <a:spcBef>
                  <a:spcPct val="0"/>
                </a:spcBef>
                <a:spcAft>
                  <a:spcPct val="15000"/>
                </a:spcAft>
                <a:buChar char="••"/>
              </a:pPr>
              <a:r>
                <a:rPr lang="el-GR" sz="1200" b="1" kern="1200" dirty="0"/>
                <a:t>Συνταξιούχοι</a:t>
              </a:r>
            </a:p>
            <a:p>
              <a:pPr marL="114300" lvl="1" indent="-114300" algn="l" defTabSz="533400" rtl="0">
                <a:lnSpc>
                  <a:spcPct val="90000"/>
                </a:lnSpc>
                <a:spcBef>
                  <a:spcPct val="0"/>
                </a:spcBef>
                <a:spcAft>
                  <a:spcPct val="15000"/>
                </a:spcAft>
                <a:buChar char="••"/>
              </a:pPr>
              <a:r>
                <a:rPr lang="el-GR" sz="1200" b="1" kern="1200" dirty="0"/>
                <a:t>Εισοδηματίες</a:t>
              </a:r>
            </a:p>
            <a:p>
              <a:pPr marL="114300" lvl="1" indent="-114300" algn="l" defTabSz="533400" rtl="0">
                <a:lnSpc>
                  <a:spcPct val="90000"/>
                </a:lnSpc>
                <a:spcBef>
                  <a:spcPct val="0"/>
                </a:spcBef>
                <a:spcAft>
                  <a:spcPct val="15000"/>
                </a:spcAft>
                <a:buChar char="••"/>
              </a:pPr>
              <a:r>
                <a:rPr lang="el-GR" sz="1200" b="1" kern="1200" dirty="0"/>
                <a:t>Αξιωματούχοι</a:t>
              </a:r>
            </a:p>
            <a:p>
              <a:pPr marL="114300" lvl="1" indent="-114300" algn="l" defTabSz="533400" rtl="0">
                <a:lnSpc>
                  <a:spcPct val="90000"/>
                </a:lnSpc>
                <a:spcBef>
                  <a:spcPct val="0"/>
                </a:spcBef>
                <a:spcAft>
                  <a:spcPct val="15000"/>
                </a:spcAft>
                <a:buChar char="••"/>
              </a:pPr>
              <a:r>
                <a:rPr lang="el-GR" sz="1200" b="1" kern="1200" dirty="0"/>
                <a:t>Κράτος</a:t>
              </a:r>
              <a:endParaRPr lang="en-GB" sz="1200" b="1" kern="1200" dirty="0"/>
            </a:p>
          </p:txBody>
        </p:sp>
        <p:sp>
          <p:nvSpPr>
            <p:cNvPr id="25" name="Shape 24"/>
            <p:cNvSpPr/>
            <p:nvPr/>
          </p:nvSpPr>
          <p:spPr>
            <a:xfrm rot="21225817">
              <a:off x="1664592" y="1913919"/>
              <a:ext cx="2611359" cy="2891300"/>
            </a:xfrm>
            <a:prstGeom prst="leftCircularArrow">
              <a:avLst>
                <a:gd name="adj1" fmla="val 2853"/>
                <a:gd name="adj2" fmla="val 348643"/>
                <a:gd name="adj3" fmla="val 2121194"/>
                <a:gd name="adj4" fmla="val 9021530"/>
                <a:gd name="adj5" fmla="val 3329"/>
              </a:avLst>
            </a:prstGeom>
            <a:solidFill>
              <a:schemeClr val="accent1">
                <a:lumMod val="60000"/>
                <a:lumOff val="40000"/>
              </a:schemeClr>
            </a:solidFill>
            <a:ln>
              <a:solidFill>
                <a:schemeClr val="accent1"/>
              </a:solidFill>
            </a:ln>
          </p:spPr>
          <p:style>
            <a:lnRef idx="0">
              <a:scrgbClr r="0" g="0" b="0"/>
            </a:lnRef>
            <a:fillRef idx="3">
              <a:scrgbClr r="0" g="0" b="0"/>
            </a:fillRef>
            <a:effectRef idx="2">
              <a:schemeClr val="accent6">
                <a:tint val="60000"/>
                <a:hueOff val="0"/>
                <a:satOff val="0"/>
                <a:lumOff val="0"/>
                <a:alphaOff val="0"/>
              </a:schemeClr>
            </a:effectRef>
            <a:fontRef idx="minor">
              <a:schemeClr val="lt1"/>
            </a:fontRef>
          </p:style>
        </p:sp>
        <p:sp>
          <p:nvSpPr>
            <p:cNvPr id="26" name="Freeform 25"/>
            <p:cNvSpPr/>
            <p:nvPr/>
          </p:nvSpPr>
          <p:spPr>
            <a:xfrm>
              <a:off x="1013631" y="3467985"/>
              <a:ext cx="1799367" cy="715549"/>
            </a:xfrm>
            <a:custGeom>
              <a:avLst/>
              <a:gdLst>
                <a:gd name="connsiteX0" fmla="*/ 0 w 1799367"/>
                <a:gd name="connsiteY0" fmla="*/ 71555 h 715549"/>
                <a:gd name="connsiteX1" fmla="*/ 20958 w 1799367"/>
                <a:gd name="connsiteY1" fmla="*/ 20958 h 715549"/>
                <a:gd name="connsiteX2" fmla="*/ 71555 w 1799367"/>
                <a:gd name="connsiteY2" fmla="*/ 0 h 715549"/>
                <a:gd name="connsiteX3" fmla="*/ 1727812 w 1799367"/>
                <a:gd name="connsiteY3" fmla="*/ 0 h 715549"/>
                <a:gd name="connsiteX4" fmla="*/ 1778409 w 1799367"/>
                <a:gd name="connsiteY4" fmla="*/ 20958 h 715549"/>
                <a:gd name="connsiteX5" fmla="*/ 1799367 w 1799367"/>
                <a:gd name="connsiteY5" fmla="*/ 71555 h 715549"/>
                <a:gd name="connsiteX6" fmla="*/ 1799367 w 1799367"/>
                <a:gd name="connsiteY6" fmla="*/ 643994 h 715549"/>
                <a:gd name="connsiteX7" fmla="*/ 1778409 w 1799367"/>
                <a:gd name="connsiteY7" fmla="*/ 694591 h 715549"/>
                <a:gd name="connsiteX8" fmla="*/ 1727812 w 1799367"/>
                <a:gd name="connsiteY8" fmla="*/ 715549 h 715549"/>
                <a:gd name="connsiteX9" fmla="*/ 71555 w 1799367"/>
                <a:gd name="connsiteY9" fmla="*/ 715549 h 715549"/>
                <a:gd name="connsiteX10" fmla="*/ 20958 w 1799367"/>
                <a:gd name="connsiteY10" fmla="*/ 694591 h 715549"/>
                <a:gd name="connsiteX11" fmla="*/ 0 w 1799367"/>
                <a:gd name="connsiteY11" fmla="*/ 643994 h 715549"/>
                <a:gd name="connsiteX12" fmla="*/ 0 w 1799367"/>
                <a:gd name="connsiteY12" fmla="*/ 71555 h 71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9367" h="715549">
                  <a:moveTo>
                    <a:pt x="0" y="71555"/>
                  </a:moveTo>
                  <a:cubicBezTo>
                    <a:pt x="0" y="52577"/>
                    <a:pt x="7539" y="34377"/>
                    <a:pt x="20958" y="20958"/>
                  </a:cubicBezTo>
                  <a:cubicBezTo>
                    <a:pt x="34377" y="7539"/>
                    <a:pt x="52578" y="0"/>
                    <a:pt x="71555" y="0"/>
                  </a:cubicBezTo>
                  <a:lnTo>
                    <a:pt x="1727812" y="0"/>
                  </a:lnTo>
                  <a:cubicBezTo>
                    <a:pt x="1746790" y="0"/>
                    <a:pt x="1764990" y="7539"/>
                    <a:pt x="1778409" y="20958"/>
                  </a:cubicBezTo>
                  <a:cubicBezTo>
                    <a:pt x="1791828" y="34377"/>
                    <a:pt x="1799367" y="52578"/>
                    <a:pt x="1799367" y="71555"/>
                  </a:cubicBezTo>
                  <a:lnTo>
                    <a:pt x="1799367" y="643994"/>
                  </a:lnTo>
                  <a:cubicBezTo>
                    <a:pt x="1799367" y="662972"/>
                    <a:pt x="1791828" y="681172"/>
                    <a:pt x="1778409" y="694591"/>
                  </a:cubicBezTo>
                  <a:cubicBezTo>
                    <a:pt x="1764990" y="708010"/>
                    <a:pt x="1746790" y="715549"/>
                    <a:pt x="1727812" y="715549"/>
                  </a:cubicBezTo>
                  <a:lnTo>
                    <a:pt x="71555" y="715549"/>
                  </a:lnTo>
                  <a:cubicBezTo>
                    <a:pt x="52577" y="715549"/>
                    <a:pt x="34377" y="708010"/>
                    <a:pt x="20958" y="694591"/>
                  </a:cubicBezTo>
                  <a:cubicBezTo>
                    <a:pt x="7539" y="681172"/>
                    <a:pt x="0" y="662972"/>
                    <a:pt x="0" y="643994"/>
                  </a:cubicBezTo>
                  <a:lnTo>
                    <a:pt x="0" y="71555"/>
                  </a:lnTo>
                  <a:close/>
                </a:path>
              </a:pathLst>
            </a:custGeom>
            <a:solidFill>
              <a:schemeClr val="accent1">
                <a:lumMod val="60000"/>
                <a:lumOff val="40000"/>
              </a:schemeClr>
            </a:solidFill>
          </p:spPr>
          <p:style>
            <a:lnRef idx="0">
              <a:schemeClr val="lt1">
                <a:hueOff val="0"/>
                <a:satOff val="0"/>
                <a:lumOff val="0"/>
                <a:alphaOff val="0"/>
              </a:schemeClr>
            </a:lnRef>
            <a:fillRef idx="3">
              <a:scrgbClr r="0" g="0" b="0"/>
            </a:fillRef>
            <a:effectRef idx="2">
              <a:schemeClr val="accent6">
                <a:hueOff val="0"/>
                <a:satOff val="0"/>
                <a:lumOff val="0"/>
                <a:alphaOff val="0"/>
              </a:schemeClr>
            </a:effectRef>
            <a:fontRef idx="minor">
              <a:schemeClr val="lt1"/>
            </a:fontRef>
          </p:style>
          <p:txBody>
            <a:bodyPr spcFirstLastPara="0" vert="horz" wrap="square" lIns="51438" tIns="41278" rIns="51438" bIns="41278" numCol="1" spcCol="1270" anchor="ctr" anchorCtr="0">
              <a:noAutofit/>
            </a:bodyPr>
            <a:lstStyle/>
            <a:p>
              <a:pPr lvl="0" algn="ctr" defTabSz="711200">
                <a:lnSpc>
                  <a:spcPct val="90000"/>
                </a:lnSpc>
                <a:spcBef>
                  <a:spcPct val="0"/>
                </a:spcBef>
                <a:spcAft>
                  <a:spcPct val="35000"/>
                </a:spcAft>
              </a:pPr>
              <a:r>
                <a:rPr lang="el-GR" sz="1600" b="1" kern="1200" dirty="0">
                  <a:solidFill>
                    <a:schemeClr val="tx1"/>
                  </a:solidFill>
                </a:rPr>
                <a:t>Εισφορές</a:t>
              </a:r>
              <a:endParaRPr lang="en-GB" sz="1600" b="1" kern="1200" dirty="0">
                <a:solidFill>
                  <a:schemeClr val="tx1"/>
                </a:solidFill>
              </a:endParaRPr>
            </a:p>
          </p:txBody>
        </p:sp>
        <p:sp>
          <p:nvSpPr>
            <p:cNvPr id="27" name="Freeform 26"/>
            <p:cNvSpPr/>
            <p:nvPr/>
          </p:nvSpPr>
          <p:spPr>
            <a:xfrm>
              <a:off x="3295497" y="2048131"/>
              <a:ext cx="2024288" cy="1669614"/>
            </a:xfrm>
            <a:custGeom>
              <a:avLst/>
              <a:gdLst>
                <a:gd name="connsiteX0" fmla="*/ 0 w 2024288"/>
                <a:gd name="connsiteY0" fmla="*/ 166961 h 1669614"/>
                <a:gd name="connsiteX1" fmla="*/ 48902 w 2024288"/>
                <a:gd name="connsiteY1" fmla="*/ 48902 h 1669614"/>
                <a:gd name="connsiteX2" fmla="*/ 166961 w 2024288"/>
                <a:gd name="connsiteY2" fmla="*/ 0 h 1669614"/>
                <a:gd name="connsiteX3" fmla="*/ 1857327 w 2024288"/>
                <a:gd name="connsiteY3" fmla="*/ 0 h 1669614"/>
                <a:gd name="connsiteX4" fmla="*/ 1975386 w 2024288"/>
                <a:gd name="connsiteY4" fmla="*/ 48902 h 1669614"/>
                <a:gd name="connsiteX5" fmla="*/ 2024288 w 2024288"/>
                <a:gd name="connsiteY5" fmla="*/ 166961 h 1669614"/>
                <a:gd name="connsiteX6" fmla="*/ 2024288 w 2024288"/>
                <a:gd name="connsiteY6" fmla="*/ 1502653 h 1669614"/>
                <a:gd name="connsiteX7" fmla="*/ 1975386 w 2024288"/>
                <a:gd name="connsiteY7" fmla="*/ 1620712 h 1669614"/>
                <a:gd name="connsiteX8" fmla="*/ 1857327 w 2024288"/>
                <a:gd name="connsiteY8" fmla="*/ 1669614 h 1669614"/>
                <a:gd name="connsiteX9" fmla="*/ 166961 w 2024288"/>
                <a:gd name="connsiteY9" fmla="*/ 1669614 h 1669614"/>
                <a:gd name="connsiteX10" fmla="*/ 48902 w 2024288"/>
                <a:gd name="connsiteY10" fmla="*/ 1620712 h 1669614"/>
                <a:gd name="connsiteX11" fmla="*/ 0 w 2024288"/>
                <a:gd name="connsiteY11" fmla="*/ 1502653 h 1669614"/>
                <a:gd name="connsiteX12" fmla="*/ 0 w 2024288"/>
                <a:gd name="connsiteY12" fmla="*/ 166961 h 16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24288" h="1669614">
                  <a:moveTo>
                    <a:pt x="0" y="166961"/>
                  </a:moveTo>
                  <a:cubicBezTo>
                    <a:pt x="0" y="122680"/>
                    <a:pt x="17591" y="80213"/>
                    <a:pt x="48902" y="48902"/>
                  </a:cubicBezTo>
                  <a:cubicBezTo>
                    <a:pt x="80213" y="17591"/>
                    <a:pt x="122681" y="0"/>
                    <a:pt x="166961" y="0"/>
                  </a:cubicBezTo>
                  <a:lnTo>
                    <a:pt x="1857327" y="0"/>
                  </a:lnTo>
                  <a:cubicBezTo>
                    <a:pt x="1901608" y="0"/>
                    <a:pt x="1944075" y="17591"/>
                    <a:pt x="1975386" y="48902"/>
                  </a:cubicBezTo>
                  <a:cubicBezTo>
                    <a:pt x="2006697" y="80213"/>
                    <a:pt x="2024288" y="122681"/>
                    <a:pt x="2024288" y="166961"/>
                  </a:cubicBezTo>
                  <a:lnTo>
                    <a:pt x="2024288" y="1502653"/>
                  </a:lnTo>
                  <a:cubicBezTo>
                    <a:pt x="2024288" y="1546934"/>
                    <a:pt x="2006698" y="1589401"/>
                    <a:pt x="1975386" y="1620712"/>
                  </a:cubicBezTo>
                  <a:cubicBezTo>
                    <a:pt x="1944075" y="1652023"/>
                    <a:pt x="1901608" y="1669614"/>
                    <a:pt x="1857327" y="1669614"/>
                  </a:cubicBezTo>
                  <a:lnTo>
                    <a:pt x="166961" y="1669614"/>
                  </a:lnTo>
                  <a:cubicBezTo>
                    <a:pt x="122680" y="1669614"/>
                    <a:pt x="80213" y="1652023"/>
                    <a:pt x="48902" y="1620712"/>
                  </a:cubicBezTo>
                  <a:cubicBezTo>
                    <a:pt x="17591" y="1589401"/>
                    <a:pt x="0" y="1546933"/>
                    <a:pt x="0" y="1502653"/>
                  </a:cubicBezTo>
                  <a:lnTo>
                    <a:pt x="0" y="166961"/>
                  </a:lnTo>
                  <a:close/>
                </a:path>
              </a:pathLst>
            </a:custGeom>
          </p:spPr>
          <p:style>
            <a:lnRef idx="1">
              <a:schemeClr val="accent6">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62247" tIns="520022" rIns="162247" bIns="162247" numCol="1" spcCol="1270" anchor="t" anchorCtr="0">
              <a:noAutofit/>
            </a:bodyPr>
            <a:lstStyle/>
            <a:p>
              <a:pPr marL="285750" lvl="1" indent="-285750" algn="l" defTabSz="2889250">
                <a:lnSpc>
                  <a:spcPct val="90000"/>
                </a:lnSpc>
                <a:spcBef>
                  <a:spcPct val="0"/>
                </a:spcBef>
                <a:spcAft>
                  <a:spcPct val="15000"/>
                </a:spcAft>
                <a:buChar char="••"/>
              </a:pPr>
              <a:endParaRPr lang="el-GR" sz="6500" kern="1200" dirty="0"/>
            </a:p>
          </p:txBody>
        </p:sp>
        <p:sp>
          <p:nvSpPr>
            <p:cNvPr id="28" name="Circular Arrow 27"/>
            <p:cNvSpPr/>
            <p:nvPr/>
          </p:nvSpPr>
          <p:spPr>
            <a:xfrm rot="21027412">
              <a:off x="4429701" y="906584"/>
              <a:ext cx="2745407" cy="2745407"/>
            </a:xfrm>
            <a:prstGeom prst="circularArrow">
              <a:avLst>
                <a:gd name="adj1" fmla="val 2491"/>
                <a:gd name="adj2" fmla="val 301880"/>
                <a:gd name="adj3" fmla="val 19365248"/>
                <a:gd name="adj4" fmla="val 12418149"/>
                <a:gd name="adj5" fmla="val 2907"/>
              </a:avLst>
            </a:prstGeom>
            <a:solidFill>
              <a:schemeClr val="accent1">
                <a:lumMod val="60000"/>
                <a:lumOff val="40000"/>
              </a:schemeClr>
            </a:solidFill>
          </p:spPr>
          <p:style>
            <a:lnRef idx="0">
              <a:schemeClr val="accent6">
                <a:tint val="60000"/>
                <a:hueOff val="0"/>
                <a:satOff val="0"/>
                <a:lumOff val="0"/>
                <a:alphaOff val="0"/>
              </a:schemeClr>
            </a:lnRef>
            <a:fillRef idx="3">
              <a:scrgbClr r="0" g="0" b="0"/>
            </a:fillRef>
            <a:effectRef idx="2">
              <a:schemeClr val="accent6">
                <a:tint val="60000"/>
                <a:hueOff val="0"/>
                <a:satOff val="0"/>
                <a:lumOff val="0"/>
                <a:alphaOff val="0"/>
              </a:schemeClr>
            </a:effectRef>
            <a:fontRef idx="minor">
              <a:schemeClr val="lt1"/>
            </a:fontRef>
          </p:style>
        </p:sp>
        <p:sp>
          <p:nvSpPr>
            <p:cNvPr id="29" name="Freeform 28"/>
            <p:cNvSpPr/>
            <p:nvPr/>
          </p:nvSpPr>
          <p:spPr>
            <a:xfrm>
              <a:off x="3745338" y="1690357"/>
              <a:ext cx="1799367" cy="715549"/>
            </a:xfrm>
            <a:custGeom>
              <a:avLst/>
              <a:gdLst>
                <a:gd name="connsiteX0" fmla="*/ 0 w 1799367"/>
                <a:gd name="connsiteY0" fmla="*/ 71555 h 715549"/>
                <a:gd name="connsiteX1" fmla="*/ 20958 w 1799367"/>
                <a:gd name="connsiteY1" fmla="*/ 20958 h 715549"/>
                <a:gd name="connsiteX2" fmla="*/ 71555 w 1799367"/>
                <a:gd name="connsiteY2" fmla="*/ 0 h 715549"/>
                <a:gd name="connsiteX3" fmla="*/ 1727812 w 1799367"/>
                <a:gd name="connsiteY3" fmla="*/ 0 h 715549"/>
                <a:gd name="connsiteX4" fmla="*/ 1778409 w 1799367"/>
                <a:gd name="connsiteY4" fmla="*/ 20958 h 715549"/>
                <a:gd name="connsiteX5" fmla="*/ 1799367 w 1799367"/>
                <a:gd name="connsiteY5" fmla="*/ 71555 h 715549"/>
                <a:gd name="connsiteX6" fmla="*/ 1799367 w 1799367"/>
                <a:gd name="connsiteY6" fmla="*/ 643994 h 715549"/>
                <a:gd name="connsiteX7" fmla="*/ 1778409 w 1799367"/>
                <a:gd name="connsiteY7" fmla="*/ 694591 h 715549"/>
                <a:gd name="connsiteX8" fmla="*/ 1727812 w 1799367"/>
                <a:gd name="connsiteY8" fmla="*/ 715549 h 715549"/>
                <a:gd name="connsiteX9" fmla="*/ 71555 w 1799367"/>
                <a:gd name="connsiteY9" fmla="*/ 715549 h 715549"/>
                <a:gd name="connsiteX10" fmla="*/ 20958 w 1799367"/>
                <a:gd name="connsiteY10" fmla="*/ 694591 h 715549"/>
                <a:gd name="connsiteX11" fmla="*/ 0 w 1799367"/>
                <a:gd name="connsiteY11" fmla="*/ 643994 h 715549"/>
                <a:gd name="connsiteX12" fmla="*/ 0 w 1799367"/>
                <a:gd name="connsiteY12" fmla="*/ 71555 h 71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9367" h="715549">
                  <a:moveTo>
                    <a:pt x="0" y="71555"/>
                  </a:moveTo>
                  <a:cubicBezTo>
                    <a:pt x="0" y="52577"/>
                    <a:pt x="7539" y="34377"/>
                    <a:pt x="20958" y="20958"/>
                  </a:cubicBezTo>
                  <a:cubicBezTo>
                    <a:pt x="34377" y="7539"/>
                    <a:pt x="52578" y="0"/>
                    <a:pt x="71555" y="0"/>
                  </a:cubicBezTo>
                  <a:lnTo>
                    <a:pt x="1727812" y="0"/>
                  </a:lnTo>
                  <a:cubicBezTo>
                    <a:pt x="1746790" y="0"/>
                    <a:pt x="1764990" y="7539"/>
                    <a:pt x="1778409" y="20958"/>
                  </a:cubicBezTo>
                  <a:cubicBezTo>
                    <a:pt x="1791828" y="34377"/>
                    <a:pt x="1799367" y="52578"/>
                    <a:pt x="1799367" y="71555"/>
                  </a:cubicBezTo>
                  <a:lnTo>
                    <a:pt x="1799367" y="643994"/>
                  </a:lnTo>
                  <a:cubicBezTo>
                    <a:pt x="1799367" y="662972"/>
                    <a:pt x="1791828" y="681172"/>
                    <a:pt x="1778409" y="694591"/>
                  </a:cubicBezTo>
                  <a:cubicBezTo>
                    <a:pt x="1764990" y="708010"/>
                    <a:pt x="1746790" y="715549"/>
                    <a:pt x="1727812" y="715549"/>
                  </a:cubicBezTo>
                  <a:lnTo>
                    <a:pt x="71555" y="715549"/>
                  </a:lnTo>
                  <a:cubicBezTo>
                    <a:pt x="52577" y="715549"/>
                    <a:pt x="34377" y="708010"/>
                    <a:pt x="20958" y="694591"/>
                  </a:cubicBezTo>
                  <a:cubicBezTo>
                    <a:pt x="7539" y="681172"/>
                    <a:pt x="0" y="662972"/>
                    <a:pt x="0" y="643994"/>
                  </a:cubicBezTo>
                  <a:lnTo>
                    <a:pt x="0" y="71555"/>
                  </a:lnTo>
                  <a:close/>
                </a:path>
              </a:pathLst>
            </a:custGeom>
            <a:solidFill>
              <a:schemeClr val="accent1">
                <a:lumMod val="60000"/>
                <a:lumOff val="40000"/>
              </a:schemeClr>
            </a:solidFill>
          </p:spPr>
          <p:style>
            <a:lnRef idx="0">
              <a:schemeClr val="lt1">
                <a:hueOff val="0"/>
                <a:satOff val="0"/>
                <a:lumOff val="0"/>
                <a:alphaOff val="0"/>
              </a:schemeClr>
            </a:lnRef>
            <a:fillRef idx="3">
              <a:scrgbClr r="0" g="0" b="0"/>
            </a:fillRef>
            <a:effectRef idx="2">
              <a:schemeClr val="accent6">
                <a:hueOff val="0"/>
                <a:satOff val="0"/>
                <a:lumOff val="0"/>
                <a:alphaOff val="0"/>
              </a:schemeClr>
            </a:effectRef>
            <a:fontRef idx="minor">
              <a:schemeClr val="lt1"/>
            </a:fontRef>
          </p:style>
          <p:txBody>
            <a:bodyPr spcFirstLastPara="0" vert="horz" wrap="square" lIns="51438" tIns="41278" rIns="51438" bIns="41278" numCol="1" spcCol="1270" anchor="ctr" anchorCtr="0">
              <a:noAutofit/>
            </a:bodyPr>
            <a:lstStyle/>
            <a:p>
              <a:pPr lvl="0" algn="ctr" defTabSz="711200">
                <a:lnSpc>
                  <a:spcPct val="90000"/>
                </a:lnSpc>
                <a:spcBef>
                  <a:spcPct val="0"/>
                </a:spcBef>
                <a:spcAft>
                  <a:spcPct val="35000"/>
                </a:spcAft>
              </a:pPr>
              <a:r>
                <a:rPr lang="el-GR" sz="1600" b="1" kern="1200" dirty="0">
                  <a:solidFill>
                    <a:schemeClr val="tx1"/>
                  </a:solidFill>
                </a:rPr>
                <a:t>Σφαιρικός Προϋπολογισμός</a:t>
              </a:r>
            </a:p>
          </p:txBody>
        </p:sp>
        <p:sp>
          <p:nvSpPr>
            <p:cNvPr id="30" name="Freeform 29"/>
            <p:cNvSpPr/>
            <p:nvPr/>
          </p:nvSpPr>
          <p:spPr>
            <a:xfrm>
              <a:off x="5870415" y="1431392"/>
              <a:ext cx="2488720" cy="2711286"/>
            </a:xfrm>
            <a:custGeom>
              <a:avLst/>
              <a:gdLst>
                <a:gd name="connsiteX0" fmla="*/ 0 w 2488720"/>
                <a:gd name="connsiteY0" fmla="*/ 248872 h 2711286"/>
                <a:gd name="connsiteX1" fmla="*/ 72893 w 2488720"/>
                <a:gd name="connsiteY1" fmla="*/ 72893 h 2711286"/>
                <a:gd name="connsiteX2" fmla="*/ 248872 w 2488720"/>
                <a:gd name="connsiteY2" fmla="*/ 0 h 2711286"/>
                <a:gd name="connsiteX3" fmla="*/ 2239848 w 2488720"/>
                <a:gd name="connsiteY3" fmla="*/ 0 h 2711286"/>
                <a:gd name="connsiteX4" fmla="*/ 2415827 w 2488720"/>
                <a:gd name="connsiteY4" fmla="*/ 72893 h 2711286"/>
                <a:gd name="connsiteX5" fmla="*/ 2488720 w 2488720"/>
                <a:gd name="connsiteY5" fmla="*/ 248872 h 2711286"/>
                <a:gd name="connsiteX6" fmla="*/ 2488720 w 2488720"/>
                <a:gd name="connsiteY6" fmla="*/ 2462414 h 2711286"/>
                <a:gd name="connsiteX7" fmla="*/ 2415827 w 2488720"/>
                <a:gd name="connsiteY7" fmla="*/ 2638393 h 2711286"/>
                <a:gd name="connsiteX8" fmla="*/ 2239848 w 2488720"/>
                <a:gd name="connsiteY8" fmla="*/ 2711286 h 2711286"/>
                <a:gd name="connsiteX9" fmla="*/ 248872 w 2488720"/>
                <a:gd name="connsiteY9" fmla="*/ 2711286 h 2711286"/>
                <a:gd name="connsiteX10" fmla="*/ 72893 w 2488720"/>
                <a:gd name="connsiteY10" fmla="*/ 2638393 h 2711286"/>
                <a:gd name="connsiteX11" fmla="*/ 0 w 2488720"/>
                <a:gd name="connsiteY11" fmla="*/ 2462414 h 2711286"/>
                <a:gd name="connsiteX12" fmla="*/ 0 w 2488720"/>
                <a:gd name="connsiteY12" fmla="*/ 248872 h 271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88720" h="2711286">
                  <a:moveTo>
                    <a:pt x="0" y="248872"/>
                  </a:moveTo>
                  <a:cubicBezTo>
                    <a:pt x="0" y="182867"/>
                    <a:pt x="26221" y="119565"/>
                    <a:pt x="72893" y="72893"/>
                  </a:cubicBezTo>
                  <a:cubicBezTo>
                    <a:pt x="119566" y="26220"/>
                    <a:pt x="182867" y="0"/>
                    <a:pt x="248872" y="0"/>
                  </a:cubicBezTo>
                  <a:lnTo>
                    <a:pt x="2239848" y="0"/>
                  </a:lnTo>
                  <a:cubicBezTo>
                    <a:pt x="2305853" y="0"/>
                    <a:pt x="2369155" y="26221"/>
                    <a:pt x="2415827" y="72893"/>
                  </a:cubicBezTo>
                  <a:cubicBezTo>
                    <a:pt x="2462500" y="119566"/>
                    <a:pt x="2488720" y="182867"/>
                    <a:pt x="2488720" y="248872"/>
                  </a:cubicBezTo>
                  <a:lnTo>
                    <a:pt x="2488720" y="2462414"/>
                  </a:lnTo>
                  <a:cubicBezTo>
                    <a:pt x="2488720" y="2528419"/>
                    <a:pt x="2462500" y="2591721"/>
                    <a:pt x="2415827" y="2638393"/>
                  </a:cubicBezTo>
                  <a:cubicBezTo>
                    <a:pt x="2369154" y="2685066"/>
                    <a:pt x="2305853" y="2711286"/>
                    <a:pt x="2239848" y="2711286"/>
                  </a:cubicBezTo>
                  <a:lnTo>
                    <a:pt x="248872" y="2711286"/>
                  </a:lnTo>
                  <a:cubicBezTo>
                    <a:pt x="182867" y="2711286"/>
                    <a:pt x="119565" y="2685066"/>
                    <a:pt x="72893" y="2638393"/>
                  </a:cubicBezTo>
                  <a:cubicBezTo>
                    <a:pt x="26220" y="2591720"/>
                    <a:pt x="0" y="2528419"/>
                    <a:pt x="0" y="2462414"/>
                  </a:cubicBezTo>
                  <a:lnTo>
                    <a:pt x="0" y="248872"/>
                  </a:lnTo>
                  <a:close/>
                </a:path>
              </a:pathLst>
            </a:custGeom>
            <a:ln>
              <a:solidFill>
                <a:schemeClr val="accent1"/>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86219" tIns="186219" rIns="186219" bIns="767209" numCol="1" spcCol="1270" anchor="t" anchorCtr="0">
              <a:noAutofit/>
            </a:bodyPr>
            <a:lstStyle/>
            <a:p>
              <a:pPr marL="114300" lvl="1" indent="-114300" algn="l" defTabSz="533400" rtl="0">
                <a:lnSpc>
                  <a:spcPct val="90000"/>
                </a:lnSpc>
                <a:spcBef>
                  <a:spcPct val="0"/>
                </a:spcBef>
                <a:spcAft>
                  <a:spcPct val="15000"/>
                </a:spcAft>
                <a:buChar char="••"/>
              </a:pPr>
              <a:r>
                <a:rPr lang="el-GR" sz="1200" b="1" kern="1200" dirty="0"/>
                <a:t>Προσωπικοί Ιατροί</a:t>
              </a:r>
            </a:p>
            <a:p>
              <a:pPr marL="114300" lvl="1" indent="-114300" algn="l" defTabSz="533400" rtl="0">
                <a:lnSpc>
                  <a:spcPct val="90000"/>
                </a:lnSpc>
                <a:spcBef>
                  <a:spcPct val="0"/>
                </a:spcBef>
                <a:spcAft>
                  <a:spcPct val="15000"/>
                </a:spcAft>
                <a:buChar char="••"/>
              </a:pPr>
              <a:r>
                <a:rPr lang="el-GR" sz="1200" b="1" kern="1200" dirty="0"/>
                <a:t>Ειδικοί Ιατροί</a:t>
              </a:r>
            </a:p>
            <a:p>
              <a:pPr marL="114300" lvl="1" indent="-114300" algn="l" defTabSz="533400" rtl="0">
                <a:lnSpc>
                  <a:spcPct val="90000"/>
                </a:lnSpc>
                <a:spcBef>
                  <a:spcPct val="0"/>
                </a:spcBef>
                <a:spcAft>
                  <a:spcPct val="15000"/>
                </a:spcAft>
                <a:buChar char="••"/>
              </a:pPr>
              <a:r>
                <a:rPr lang="el-GR" sz="1200" b="1" kern="1200" dirty="0"/>
                <a:t>Κλινικά Εργαστήρια</a:t>
              </a:r>
            </a:p>
            <a:p>
              <a:pPr marL="114300" lvl="1" indent="-114300" algn="l" defTabSz="533400" rtl="0">
                <a:lnSpc>
                  <a:spcPct val="90000"/>
                </a:lnSpc>
                <a:spcBef>
                  <a:spcPct val="0"/>
                </a:spcBef>
                <a:spcAft>
                  <a:spcPct val="15000"/>
                </a:spcAft>
                <a:buChar char="••"/>
              </a:pPr>
              <a:r>
                <a:rPr lang="el-GR" sz="1200" b="1" kern="1200" dirty="0">
                  <a:solidFill>
                    <a:schemeClr val="tx1"/>
                  </a:solidFill>
                </a:rPr>
                <a:t>Άλλοι επαγγελματίες υγείας</a:t>
              </a:r>
              <a:endParaRPr lang="el-GR" sz="1200" b="1" kern="1200" dirty="0"/>
            </a:p>
            <a:p>
              <a:pPr marL="114300" lvl="1" indent="-114300" algn="l" defTabSz="533400" rtl="0">
                <a:lnSpc>
                  <a:spcPct val="90000"/>
                </a:lnSpc>
                <a:spcBef>
                  <a:spcPct val="0"/>
                </a:spcBef>
                <a:spcAft>
                  <a:spcPct val="15000"/>
                </a:spcAft>
                <a:buChar char="••"/>
              </a:pPr>
              <a:r>
                <a:rPr lang="el-GR" sz="1200" b="1" kern="1200" dirty="0"/>
                <a:t>Νοσηλευτήρια </a:t>
              </a:r>
            </a:p>
            <a:p>
              <a:pPr marL="114300" lvl="1" indent="-114300" algn="l" defTabSz="533400" rtl="0">
                <a:lnSpc>
                  <a:spcPct val="90000"/>
                </a:lnSpc>
                <a:spcBef>
                  <a:spcPct val="0"/>
                </a:spcBef>
                <a:spcAft>
                  <a:spcPct val="15000"/>
                </a:spcAft>
                <a:buChar char="••"/>
              </a:pPr>
              <a:r>
                <a:rPr lang="el-GR" sz="1200" b="1" kern="1200" dirty="0"/>
                <a:t>ΤΑΕΠ</a:t>
              </a:r>
            </a:p>
            <a:p>
              <a:pPr marL="114300" lvl="1" indent="-114300" algn="l" defTabSz="533400" rtl="0">
                <a:lnSpc>
                  <a:spcPct val="90000"/>
                </a:lnSpc>
                <a:spcBef>
                  <a:spcPct val="0"/>
                </a:spcBef>
                <a:spcAft>
                  <a:spcPct val="15000"/>
                </a:spcAft>
                <a:buChar char="••"/>
              </a:pPr>
              <a:r>
                <a:rPr lang="el-GR" sz="1200" b="1" kern="1200" dirty="0"/>
                <a:t>Ασθενοφόρα</a:t>
              </a:r>
            </a:p>
            <a:p>
              <a:pPr marL="114300" lvl="1" indent="-114300" algn="l" defTabSz="533400" rtl="0">
                <a:lnSpc>
                  <a:spcPct val="90000"/>
                </a:lnSpc>
                <a:spcBef>
                  <a:spcPct val="0"/>
                </a:spcBef>
                <a:spcAft>
                  <a:spcPct val="15000"/>
                </a:spcAft>
                <a:buChar char="••"/>
              </a:pPr>
              <a:r>
                <a:rPr lang="el-GR" sz="1200" b="1" kern="1200" dirty="0"/>
                <a:t>Φάρμακα</a:t>
              </a:r>
            </a:p>
          </p:txBody>
        </p:sp>
        <p:sp>
          <p:nvSpPr>
            <p:cNvPr id="31" name="Freeform 30"/>
            <p:cNvSpPr/>
            <p:nvPr/>
          </p:nvSpPr>
          <p:spPr>
            <a:xfrm>
              <a:off x="6552473" y="3466301"/>
              <a:ext cx="1921676" cy="715549"/>
            </a:xfrm>
            <a:custGeom>
              <a:avLst/>
              <a:gdLst>
                <a:gd name="connsiteX0" fmla="*/ 0 w 1799367"/>
                <a:gd name="connsiteY0" fmla="*/ 71555 h 715549"/>
                <a:gd name="connsiteX1" fmla="*/ 20958 w 1799367"/>
                <a:gd name="connsiteY1" fmla="*/ 20958 h 715549"/>
                <a:gd name="connsiteX2" fmla="*/ 71555 w 1799367"/>
                <a:gd name="connsiteY2" fmla="*/ 0 h 715549"/>
                <a:gd name="connsiteX3" fmla="*/ 1727812 w 1799367"/>
                <a:gd name="connsiteY3" fmla="*/ 0 h 715549"/>
                <a:gd name="connsiteX4" fmla="*/ 1778409 w 1799367"/>
                <a:gd name="connsiteY4" fmla="*/ 20958 h 715549"/>
                <a:gd name="connsiteX5" fmla="*/ 1799367 w 1799367"/>
                <a:gd name="connsiteY5" fmla="*/ 71555 h 715549"/>
                <a:gd name="connsiteX6" fmla="*/ 1799367 w 1799367"/>
                <a:gd name="connsiteY6" fmla="*/ 643994 h 715549"/>
                <a:gd name="connsiteX7" fmla="*/ 1778409 w 1799367"/>
                <a:gd name="connsiteY7" fmla="*/ 694591 h 715549"/>
                <a:gd name="connsiteX8" fmla="*/ 1727812 w 1799367"/>
                <a:gd name="connsiteY8" fmla="*/ 715549 h 715549"/>
                <a:gd name="connsiteX9" fmla="*/ 71555 w 1799367"/>
                <a:gd name="connsiteY9" fmla="*/ 715549 h 715549"/>
                <a:gd name="connsiteX10" fmla="*/ 20958 w 1799367"/>
                <a:gd name="connsiteY10" fmla="*/ 694591 h 715549"/>
                <a:gd name="connsiteX11" fmla="*/ 0 w 1799367"/>
                <a:gd name="connsiteY11" fmla="*/ 643994 h 715549"/>
                <a:gd name="connsiteX12" fmla="*/ 0 w 1799367"/>
                <a:gd name="connsiteY12" fmla="*/ 71555 h 71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9367" h="715549">
                  <a:moveTo>
                    <a:pt x="0" y="71555"/>
                  </a:moveTo>
                  <a:cubicBezTo>
                    <a:pt x="0" y="52577"/>
                    <a:pt x="7539" y="34377"/>
                    <a:pt x="20958" y="20958"/>
                  </a:cubicBezTo>
                  <a:cubicBezTo>
                    <a:pt x="34377" y="7539"/>
                    <a:pt x="52578" y="0"/>
                    <a:pt x="71555" y="0"/>
                  </a:cubicBezTo>
                  <a:lnTo>
                    <a:pt x="1727812" y="0"/>
                  </a:lnTo>
                  <a:cubicBezTo>
                    <a:pt x="1746790" y="0"/>
                    <a:pt x="1764990" y="7539"/>
                    <a:pt x="1778409" y="20958"/>
                  </a:cubicBezTo>
                  <a:cubicBezTo>
                    <a:pt x="1791828" y="34377"/>
                    <a:pt x="1799367" y="52578"/>
                    <a:pt x="1799367" y="71555"/>
                  </a:cubicBezTo>
                  <a:lnTo>
                    <a:pt x="1799367" y="643994"/>
                  </a:lnTo>
                  <a:cubicBezTo>
                    <a:pt x="1799367" y="662972"/>
                    <a:pt x="1791828" y="681172"/>
                    <a:pt x="1778409" y="694591"/>
                  </a:cubicBezTo>
                  <a:cubicBezTo>
                    <a:pt x="1764990" y="708010"/>
                    <a:pt x="1746790" y="715549"/>
                    <a:pt x="1727812" y="715549"/>
                  </a:cubicBezTo>
                  <a:lnTo>
                    <a:pt x="71555" y="715549"/>
                  </a:lnTo>
                  <a:cubicBezTo>
                    <a:pt x="52577" y="715549"/>
                    <a:pt x="34377" y="708010"/>
                    <a:pt x="20958" y="694591"/>
                  </a:cubicBezTo>
                  <a:cubicBezTo>
                    <a:pt x="7539" y="681172"/>
                    <a:pt x="0" y="662972"/>
                    <a:pt x="0" y="643994"/>
                  </a:cubicBezTo>
                  <a:lnTo>
                    <a:pt x="0" y="71555"/>
                  </a:lnTo>
                  <a:close/>
                </a:path>
              </a:pathLst>
            </a:custGeom>
            <a:solidFill>
              <a:schemeClr val="accent1">
                <a:lumMod val="60000"/>
                <a:lumOff val="40000"/>
              </a:schemeClr>
            </a:solidFill>
          </p:spPr>
          <p:style>
            <a:lnRef idx="0">
              <a:schemeClr val="lt1">
                <a:hueOff val="0"/>
                <a:satOff val="0"/>
                <a:lumOff val="0"/>
                <a:alphaOff val="0"/>
              </a:schemeClr>
            </a:lnRef>
            <a:fillRef idx="3">
              <a:scrgbClr r="0" g="0" b="0"/>
            </a:fillRef>
            <a:effectRef idx="2">
              <a:schemeClr val="accent6">
                <a:hueOff val="0"/>
                <a:satOff val="0"/>
                <a:lumOff val="0"/>
                <a:alphaOff val="0"/>
              </a:schemeClr>
            </a:effectRef>
            <a:fontRef idx="minor">
              <a:schemeClr val="lt1"/>
            </a:fontRef>
          </p:style>
          <p:txBody>
            <a:bodyPr spcFirstLastPara="0" vert="horz" wrap="square" lIns="51438" tIns="41278" rIns="51438" bIns="41278" numCol="1" spcCol="1270" anchor="ctr" anchorCtr="0">
              <a:noAutofit/>
            </a:bodyPr>
            <a:lstStyle/>
            <a:p>
              <a:pPr lvl="0" algn="ctr" defTabSz="711200" rtl="0">
                <a:lnSpc>
                  <a:spcPct val="90000"/>
                </a:lnSpc>
                <a:spcBef>
                  <a:spcPct val="0"/>
                </a:spcBef>
                <a:spcAft>
                  <a:spcPct val="35000"/>
                </a:spcAft>
              </a:pPr>
              <a:r>
                <a:rPr lang="el-GR" sz="1600" b="1" kern="1200" dirty="0" err="1">
                  <a:solidFill>
                    <a:schemeClr val="tx1"/>
                  </a:solidFill>
                </a:rPr>
                <a:t>Παροχείς</a:t>
              </a:r>
              <a:r>
                <a:rPr lang="el-GR" sz="1600" b="1" kern="1200" dirty="0">
                  <a:solidFill>
                    <a:schemeClr val="tx1"/>
                  </a:solidFill>
                </a:rPr>
                <a:t> Υπηρεσιών Φροντίδας Υγείας </a:t>
              </a:r>
            </a:p>
          </p:txBody>
        </p:sp>
      </p:grpSp>
      <p:sp>
        <p:nvSpPr>
          <p:cNvPr id="9" name="TextBox 8"/>
          <p:cNvSpPr txBox="1"/>
          <p:nvPr/>
        </p:nvSpPr>
        <p:spPr>
          <a:xfrm>
            <a:off x="5592744" y="5029200"/>
            <a:ext cx="1775637" cy="338554"/>
          </a:xfrm>
          <a:prstGeom prst="rect">
            <a:avLst/>
          </a:prstGeom>
          <a:noFill/>
        </p:spPr>
        <p:txBody>
          <a:bodyPr wrap="square" rtlCol="0">
            <a:spAutoFit/>
          </a:bodyPr>
          <a:lstStyle/>
          <a:p>
            <a:pPr algn="ctr"/>
            <a:r>
              <a:rPr lang="el-GR" dirty="0"/>
              <a:t>Απαιτήσεις</a:t>
            </a:r>
            <a:endParaRPr lang="en-GB" dirty="0"/>
          </a:p>
        </p:txBody>
      </p:sp>
      <p:sp>
        <p:nvSpPr>
          <p:cNvPr id="12" name="Slide Number Placeholder 11"/>
          <p:cNvSpPr>
            <a:spLocks noGrp="1"/>
          </p:cNvSpPr>
          <p:nvPr>
            <p:ph type="sldNum" sz="quarter" idx="10"/>
          </p:nvPr>
        </p:nvSpPr>
        <p:spPr>
          <a:xfrm>
            <a:off x="6870700" y="6490659"/>
            <a:ext cx="1866900" cy="182563"/>
          </a:xfrm>
        </p:spPr>
        <p:txBody>
          <a:bodyPr/>
          <a:lstStyle/>
          <a:p>
            <a:fld id="{32024868-5A92-4FEC-A0C0-C31EFA6ADBD7}" type="slidenum">
              <a:rPr lang="en-US" smtClean="0"/>
              <a:pPr/>
              <a:t>20</a:t>
            </a:fld>
            <a:endParaRPr lang="en-US" dirty="0"/>
          </a:p>
        </p:txBody>
      </p:sp>
      <p:grpSp>
        <p:nvGrpSpPr>
          <p:cNvPr id="13" name="Group 12"/>
          <p:cNvGrpSpPr>
            <a:grpSpLocks/>
          </p:cNvGrpSpPr>
          <p:nvPr/>
        </p:nvGrpSpPr>
        <p:grpSpPr bwMode="auto">
          <a:xfrm>
            <a:off x="146050" y="222249"/>
            <a:ext cx="5436043" cy="355600"/>
            <a:chOff x="359153" y="635270"/>
            <a:chExt cx="3844470" cy="840050"/>
          </a:xfrm>
        </p:grpSpPr>
        <p:sp>
          <p:nvSpPr>
            <p:cNvPr id="14" name="Rounded Rectangle 13"/>
            <p:cNvSpPr/>
            <p:nvPr/>
          </p:nvSpPr>
          <p:spPr>
            <a:xfrm>
              <a:off x="359153" y="635270"/>
              <a:ext cx="3844470" cy="840050"/>
            </a:xfrm>
            <a:prstGeom prst="round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16" name="Rounded Rectangle 4"/>
            <p:cNvSpPr/>
            <p:nvPr/>
          </p:nvSpPr>
          <p:spPr>
            <a:xfrm>
              <a:off x="396573" y="707275"/>
              <a:ext cx="3762856" cy="756044"/>
            </a:xfrm>
            <a:prstGeom prst="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defTabSz="1066800">
                <a:lnSpc>
                  <a:spcPct val="90000"/>
                </a:lnSpc>
                <a:defRPr/>
              </a:pPr>
              <a:r>
                <a:rPr lang="el-GR" sz="2000" b="1" dirty="0"/>
                <a:t>Χρηματοδότηση ΓεΣΥ</a:t>
              </a:r>
              <a:endParaRPr lang="en-GB" sz="2000" b="1" dirty="0"/>
            </a:p>
          </p:txBody>
        </p:sp>
      </p:grpSp>
      <p:sp>
        <p:nvSpPr>
          <p:cNvPr id="10" name="TextBox 9"/>
          <p:cNvSpPr txBox="1"/>
          <p:nvPr/>
        </p:nvSpPr>
        <p:spPr>
          <a:xfrm>
            <a:off x="3551274" y="3179148"/>
            <a:ext cx="1626781" cy="338554"/>
          </a:xfrm>
          <a:prstGeom prst="rect">
            <a:avLst/>
          </a:prstGeom>
          <a:noFill/>
        </p:spPr>
        <p:txBody>
          <a:bodyPr wrap="square" rtlCol="0">
            <a:spAutoFit/>
          </a:bodyPr>
          <a:lstStyle/>
          <a:p>
            <a:pPr lvl="0" algn="ctr"/>
            <a:r>
              <a:rPr lang="en-GB" b="1" dirty="0"/>
              <a:t>€</a:t>
            </a:r>
            <a:r>
              <a:rPr lang="el-GR" b="1" dirty="0"/>
              <a:t> 995 εκ.</a:t>
            </a:r>
          </a:p>
        </p:txBody>
      </p:sp>
      <p:sp>
        <p:nvSpPr>
          <p:cNvPr id="38" name="Freeform 37"/>
          <p:cNvSpPr/>
          <p:nvPr/>
        </p:nvSpPr>
        <p:spPr>
          <a:xfrm>
            <a:off x="3456438" y="5516805"/>
            <a:ext cx="1630331" cy="715549"/>
          </a:xfrm>
          <a:custGeom>
            <a:avLst/>
            <a:gdLst>
              <a:gd name="connsiteX0" fmla="*/ 0 w 1799367"/>
              <a:gd name="connsiteY0" fmla="*/ 71555 h 715549"/>
              <a:gd name="connsiteX1" fmla="*/ 20958 w 1799367"/>
              <a:gd name="connsiteY1" fmla="*/ 20958 h 715549"/>
              <a:gd name="connsiteX2" fmla="*/ 71555 w 1799367"/>
              <a:gd name="connsiteY2" fmla="*/ 0 h 715549"/>
              <a:gd name="connsiteX3" fmla="*/ 1727812 w 1799367"/>
              <a:gd name="connsiteY3" fmla="*/ 0 h 715549"/>
              <a:gd name="connsiteX4" fmla="*/ 1778409 w 1799367"/>
              <a:gd name="connsiteY4" fmla="*/ 20958 h 715549"/>
              <a:gd name="connsiteX5" fmla="*/ 1799367 w 1799367"/>
              <a:gd name="connsiteY5" fmla="*/ 71555 h 715549"/>
              <a:gd name="connsiteX6" fmla="*/ 1799367 w 1799367"/>
              <a:gd name="connsiteY6" fmla="*/ 643994 h 715549"/>
              <a:gd name="connsiteX7" fmla="*/ 1778409 w 1799367"/>
              <a:gd name="connsiteY7" fmla="*/ 694591 h 715549"/>
              <a:gd name="connsiteX8" fmla="*/ 1727812 w 1799367"/>
              <a:gd name="connsiteY8" fmla="*/ 715549 h 715549"/>
              <a:gd name="connsiteX9" fmla="*/ 71555 w 1799367"/>
              <a:gd name="connsiteY9" fmla="*/ 715549 h 715549"/>
              <a:gd name="connsiteX10" fmla="*/ 20958 w 1799367"/>
              <a:gd name="connsiteY10" fmla="*/ 694591 h 715549"/>
              <a:gd name="connsiteX11" fmla="*/ 0 w 1799367"/>
              <a:gd name="connsiteY11" fmla="*/ 643994 h 715549"/>
              <a:gd name="connsiteX12" fmla="*/ 0 w 1799367"/>
              <a:gd name="connsiteY12" fmla="*/ 71555 h 715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99367" h="715549">
                <a:moveTo>
                  <a:pt x="0" y="71555"/>
                </a:moveTo>
                <a:cubicBezTo>
                  <a:pt x="0" y="52577"/>
                  <a:pt x="7539" y="34377"/>
                  <a:pt x="20958" y="20958"/>
                </a:cubicBezTo>
                <a:cubicBezTo>
                  <a:pt x="34377" y="7539"/>
                  <a:pt x="52578" y="0"/>
                  <a:pt x="71555" y="0"/>
                </a:cubicBezTo>
                <a:lnTo>
                  <a:pt x="1727812" y="0"/>
                </a:lnTo>
                <a:cubicBezTo>
                  <a:pt x="1746790" y="0"/>
                  <a:pt x="1764990" y="7539"/>
                  <a:pt x="1778409" y="20958"/>
                </a:cubicBezTo>
                <a:cubicBezTo>
                  <a:pt x="1791828" y="34377"/>
                  <a:pt x="1799367" y="52578"/>
                  <a:pt x="1799367" y="71555"/>
                </a:cubicBezTo>
                <a:lnTo>
                  <a:pt x="1799367" y="643994"/>
                </a:lnTo>
                <a:cubicBezTo>
                  <a:pt x="1799367" y="662972"/>
                  <a:pt x="1791828" y="681172"/>
                  <a:pt x="1778409" y="694591"/>
                </a:cubicBezTo>
                <a:cubicBezTo>
                  <a:pt x="1764990" y="708010"/>
                  <a:pt x="1746790" y="715549"/>
                  <a:pt x="1727812" y="715549"/>
                </a:cubicBezTo>
                <a:lnTo>
                  <a:pt x="71555" y="715549"/>
                </a:lnTo>
                <a:cubicBezTo>
                  <a:pt x="52577" y="715549"/>
                  <a:pt x="34377" y="708010"/>
                  <a:pt x="20958" y="694591"/>
                </a:cubicBezTo>
                <a:cubicBezTo>
                  <a:pt x="7539" y="681172"/>
                  <a:pt x="0" y="662972"/>
                  <a:pt x="0" y="643994"/>
                </a:cubicBezTo>
                <a:lnTo>
                  <a:pt x="0" y="71555"/>
                </a:lnTo>
                <a:close/>
              </a:path>
            </a:pathLst>
          </a:custGeom>
          <a:solidFill>
            <a:schemeClr val="accent1">
              <a:lumMod val="60000"/>
              <a:lumOff val="40000"/>
            </a:schemeClr>
          </a:solidFill>
        </p:spPr>
        <p:style>
          <a:lnRef idx="0">
            <a:schemeClr val="lt1">
              <a:hueOff val="0"/>
              <a:satOff val="0"/>
              <a:lumOff val="0"/>
              <a:alphaOff val="0"/>
            </a:schemeClr>
          </a:lnRef>
          <a:fillRef idx="3">
            <a:scrgbClr r="0" g="0" b="0"/>
          </a:fillRef>
          <a:effectRef idx="2">
            <a:schemeClr val="accent6">
              <a:hueOff val="0"/>
              <a:satOff val="0"/>
              <a:lumOff val="0"/>
              <a:alphaOff val="0"/>
            </a:schemeClr>
          </a:effectRef>
          <a:fontRef idx="minor">
            <a:schemeClr val="lt1"/>
          </a:fontRef>
        </p:style>
        <p:txBody>
          <a:bodyPr spcFirstLastPara="0" vert="horz" wrap="square" lIns="51438" tIns="41278" rIns="51438" bIns="41278" numCol="1" spcCol="1270" anchor="ctr" anchorCtr="0">
            <a:noAutofit/>
          </a:bodyPr>
          <a:lstStyle/>
          <a:p>
            <a:pPr lvl="0" algn="ctr" defTabSz="711200">
              <a:lnSpc>
                <a:spcPct val="90000"/>
              </a:lnSpc>
              <a:spcBef>
                <a:spcPct val="0"/>
              </a:spcBef>
              <a:spcAft>
                <a:spcPct val="35000"/>
              </a:spcAft>
            </a:pPr>
            <a:r>
              <a:rPr lang="el-GR" sz="1600" b="1" kern="1200" dirty="0" err="1">
                <a:solidFill>
                  <a:schemeClr val="tx1"/>
                </a:solidFill>
              </a:rPr>
              <a:t>Συμπληρωμές</a:t>
            </a:r>
            <a:endParaRPr lang="en-GB" sz="1600" b="1" kern="1200" dirty="0">
              <a:solidFill>
                <a:schemeClr val="tx1"/>
              </a:solidFill>
            </a:endParaRPr>
          </a:p>
        </p:txBody>
      </p:sp>
      <p:sp>
        <p:nvSpPr>
          <p:cNvPr id="40" name="Striped Right Arrow 39"/>
          <p:cNvSpPr/>
          <p:nvPr/>
        </p:nvSpPr>
        <p:spPr bwMode="auto">
          <a:xfrm rot="16200000">
            <a:off x="3903438" y="5090874"/>
            <a:ext cx="724629" cy="405459"/>
          </a:xfrm>
          <a:prstGeom prst="stripedRightArrow">
            <a:avLst/>
          </a:prstGeom>
          <a:solidFill>
            <a:schemeClr val="accent1">
              <a:lumMod val="60000"/>
              <a:lumOff val="40000"/>
            </a:schemeClr>
          </a:solidFill>
          <a:ln>
            <a:solidFill>
              <a:schemeClr val="accent1"/>
            </a:solidFill>
          </a:ln>
        </p:spPr>
        <p:style>
          <a:lnRef idx="0">
            <a:scrgbClr r="0" g="0" b="0"/>
          </a:lnRef>
          <a:fillRef idx="3">
            <a:scrgbClr r="0" g="0" b="0"/>
          </a:fillRef>
          <a:effectRef idx="2">
            <a:schemeClr val="accent6">
              <a:tint val="60000"/>
              <a:hueOff val="0"/>
              <a:satOff val="0"/>
              <a:lumOff val="0"/>
              <a:alphaOff val="0"/>
            </a:schemeClr>
          </a:effectRef>
          <a:fontRef idx="minor">
            <a:schemeClr val="lt1"/>
          </a:fontRef>
        </p:style>
        <p:txBody>
          <a:bodyPr vert="horz" wrap="none" lIns="91430" tIns="45715" rIns="91430" bIns="45715" numCol="1" rtlCol="0" anchor="ctr" anchorCtr="0" compatLnSpc="1">
            <a:prstTxWarp prst="textNoShape">
              <a:avLst/>
            </a:prstTxWarp>
          </a:bodyPr>
          <a:lstStyle/>
          <a:p>
            <a:pPr marL="0" marR="0" indent="0" algn="ctr" defTabSz="895350" rtl="0" eaLnBrk="1" fontAlgn="base" latinLnBrk="0" hangingPunct="1">
              <a:lnSpc>
                <a:spcPct val="100000"/>
              </a:lnSpc>
              <a:spcBef>
                <a:spcPct val="0"/>
              </a:spcBef>
              <a:spcAft>
                <a:spcPct val="0"/>
              </a:spcAft>
              <a:buClrTx/>
              <a:buSzTx/>
              <a:buFontTx/>
              <a:buNone/>
              <a:tabLst/>
            </a:pPr>
            <a:endParaRPr kumimoji="0" lang="el-GR" sz="1600" b="0" i="0" u="none" strike="noStrike" cap="none" normalizeH="0" baseline="0">
              <a:ln>
                <a:noFill/>
              </a:ln>
              <a:solidFill>
                <a:schemeClr val="tx1"/>
              </a:solidFill>
              <a:effectLst/>
              <a:latin typeface="Arial" charset="0"/>
            </a:endParaRPr>
          </a:p>
        </p:txBody>
      </p:sp>
    </p:spTree>
  </p:cSld>
  <p:clrMapOvr>
    <a:masterClrMapping/>
  </p:clrMapOvr>
  <p:transition spd="med">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a:xfrm>
            <a:off x="6870700" y="6511925"/>
            <a:ext cx="1866900" cy="184150"/>
          </a:xfrm>
        </p:spPr>
        <p:txBody>
          <a:bodyPr/>
          <a:lstStyle/>
          <a:p>
            <a:pPr>
              <a:defRPr/>
            </a:pPr>
            <a:fld id="{7CAEA39E-297D-4DD7-B4DE-1E9B3CD3B9EF}" type="slidenum">
              <a:rPr lang="en-US" smtClean="0"/>
              <a:pPr>
                <a:defRPr/>
              </a:pPr>
              <a:t>21</a:t>
            </a:fld>
            <a:endParaRPr lang="en-US" dirty="0"/>
          </a:p>
        </p:txBody>
      </p:sp>
      <p:graphicFrame>
        <p:nvGraphicFramePr>
          <p:cNvPr id="10" name="Table 9"/>
          <p:cNvGraphicFramePr>
            <a:graphicFrameLocks noGrp="1"/>
          </p:cNvGraphicFramePr>
          <p:nvPr/>
        </p:nvGraphicFramePr>
        <p:xfrm>
          <a:off x="304800" y="1084263"/>
          <a:ext cx="7651749" cy="4567237"/>
        </p:xfrm>
        <a:graphic>
          <a:graphicData uri="http://schemas.openxmlformats.org/drawingml/2006/table">
            <a:tbl>
              <a:tblPr/>
              <a:tblGrid>
                <a:gridCol w="3423322">
                  <a:extLst>
                    <a:ext uri="{9D8B030D-6E8A-4147-A177-3AD203B41FA5}">
                      <a16:colId xmlns:a16="http://schemas.microsoft.com/office/drawing/2014/main" val="20000"/>
                    </a:ext>
                  </a:extLst>
                </a:gridCol>
                <a:gridCol w="2016030">
                  <a:extLst>
                    <a:ext uri="{9D8B030D-6E8A-4147-A177-3AD203B41FA5}">
                      <a16:colId xmlns:a16="http://schemas.microsoft.com/office/drawing/2014/main" val="20001"/>
                    </a:ext>
                  </a:extLst>
                </a:gridCol>
                <a:gridCol w="2212397">
                  <a:extLst>
                    <a:ext uri="{9D8B030D-6E8A-4147-A177-3AD203B41FA5}">
                      <a16:colId xmlns:a16="http://schemas.microsoft.com/office/drawing/2014/main" val="20002"/>
                    </a:ext>
                  </a:extLst>
                </a:gridCol>
              </a:tblGrid>
              <a:tr h="616707">
                <a:tc>
                  <a:txBody>
                    <a:bodyPr/>
                    <a:lstStyle/>
                    <a:p>
                      <a:pPr algn="ctr" fontAlgn="ctr"/>
                      <a:r>
                        <a:rPr lang="en-US" sz="1400" b="0" i="0" u="none" strike="noStrike" dirty="0">
                          <a:solidFill>
                            <a:srgbClr val="000000"/>
                          </a:solidFill>
                          <a:latin typeface="Arial"/>
                        </a:rPr>
                        <a:t> </a:t>
                      </a:r>
                      <a:r>
                        <a:rPr lang="el-GR" sz="1400" b="1" i="0" u="none" strike="noStrike" dirty="0">
                          <a:solidFill>
                            <a:srgbClr val="000000"/>
                          </a:solidFill>
                          <a:latin typeface="Arial"/>
                        </a:rPr>
                        <a:t>Κατηγορίες</a:t>
                      </a:r>
                      <a:r>
                        <a:rPr lang="el-GR" sz="1400" b="1" i="0" u="none" strike="noStrike" baseline="0" dirty="0">
                          <a:solidFill>
                            <a:srgbClr val="000000"/>
                          </a:solidFill>
                          <a:latin typeface="Arial"/>
                        </a:rPr>
                        <a:t> </a:t>
                      </a:r>
                      <a:r>
                        <a:rPr lang="el-GR" sz="1400" b="1" i="0" u="none" strike="noStrike" baseline="0" dirty="0" err="1">
                          <a:solidFill>
                            <a:srgbClr val="000000"/>
                          </a:solidFill>
                          <a:latin typeface="Arial"/>
                        </a:rPr>
                        <a:t>Εισφορέων</a:t>
                      </a:r>
                      <a:endParaRPr lang="en-US" sz="1400" b="1" i="0" u="none" strike="noStrike" dirty="0">
                        <a:solidFill>
                          <a:srgbClr val="000000"/>
                        </a:solidFill>
                        <a:latin typeface="Arial"/>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ctr" fontAlgn="ctr"/>
                      <a:r>
                        <a:rPr lang="el-GR" sz="1400" b="1" i="0" u="none" strike="noStrike" dirty="0">
                          <a:solidFill>
                            <a:srgbClr val="000000"/>
                          </a:solidFill>
                          <a:latin typeface="Arial"/>
                        </a:rPr>
                        <a:t>Μάρτιος</a:t>
                      </a:r>
                      <a:r>
                        <a:rPr lang="el-GR" sz="1400" b="1" i="0" u="none" strike="noStrike" baseline="0" dirty="0">
                          <a:solidFill>
                            <a:srgbClr val="000000"/>
                          </a:solidFill>
                          <a:latin typeface="Arial"/>
                        </a:rPr>
                        <a:t> 2019</a:t>
                      </a:r>
                      <a:r>
                        <a:rPr lang="el-GR" sz="1400" b="0" i="0" u="none" strike="noStrike" baseline="0" dirty="0">
                          <a:solidFill>
                            <a:srgbClr val="000000"/>
                          </a:solidFill>
                          <a:latin typeface="Arial"/>
                        </a:rPr>
                        <a:t>*</a:t>
                      </a:r>
                      <a:endParaRPr lang="en-US" sz="1400" b="0" i="0" u="none" strike="noStrike" dirty="0">
                        <a:solidFill>
                          <a:srgbClr val="000000"/>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tc>
                  <a:txBody>
                    <a:bodyPr/>
                    <a:lstStyle/>
                    <a:p>
                      <a:pPr algn="ctr" fontAlgn="ctr"/>
                      <a:r>
                        <a:rPr lang="el-GR" sz="1400" b="1" i="0" u="none" strike="noStrike" dirty="0">
                          <a:solidFill>
                            <a:srgbClr val="000000"/>
                          </a:solidFill>
                          <a:latin typeface="Arial"/>
                        </a:rPr>
                        <a:t>Μάρτιος</a:t>
                      </a:r>
                      <a:r>
                        <a:rPr lang="el-GR" sz="1400" b="1" i="0" u="none" strike="noStrike" baseline="0" dirty="0">
                          <a:solidFill>
                            <a:srgbClr val="000000"/>
                          </a:solidFill>
                          <a:latin typeface="Arial"/>
                        </a:rPr>
                        <a:t> 2020</a:t>
                      </a:r>
                      <a:r>
                        <a:rPr lang="el-GR" sz="1400" b="0" i="0" u="none" strike="noStrike" baseline="0" dirty="0">
                          <a:solidFill>
                            <a:srgbClr val="000000"/>
                          </a:solidFill>
                          <a:latin typeface="Arial"/>
                        </a:rPr>
                        <a:t>**</a:t>
                      </a:r>
                      <a:endParaRPr lang="en-US" sz="1400" b="0" i="0" u="none" strike="noStrike" dirty="0">
                        <a:solidFill>
                          <a:srgbClr val="000000"/>
                        </a:solidFill>
                        <a:latin typeface="Arial"/>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solidFill>
                  </a:tcPr>
                </a:tc>
                <a:extLst>
                  <a:ext uri="{0D108BD9-81ED-4DB2-BD59-A6C34878D82A}">
                    <a16:rowId xmlns:a16="http://schemas.microsoft.com/office/drawing/2014/main" val="10000"/>
                  </a:ext>
                </a:extLst>
              </a:tr>
              <a:tr h="410621">
                <a:tc>
                  <a:txBody>
                    <a:bodyPr/>
                    <a:lstStyle/>
                    <a:p>
                      <a:pPr marL="231775" indent="0" algn="l" fontAlgn="ctr"/>
                      <a:r>
                        <a:rPr lang="el-GR" sz="1400" b="1" i="0" u="none" strike="noStrike" dirty="0">
                          <a:solidFill>
                            <a:srgbClr val="000000"/>
                          </a:solidFill>
                          <a:latin typeface="Arial"/>
                        </a:rPr>
                        <a:t>Μισθωτοί</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US" sz="1400" b="0" i="0" u="none" strike="noStrike" dirty="0">
                          <a:solidFill>
                            <a:srgbClr val="000000"/>
                          </a:solidFill>
                          <a:latin typeface="Arial"/>
                        </a:rPr>
                        <a:t>1</a:t>
                      </a:r>
                      <a:r>
                        <a:rPr lang="el-GR" sz="1400" b="0" i="0" u="none" strike="noStrike" dirty="0">
                          <a:solidFill>
                            <a:srgbClr val="000000"/>
                          </a:solidFill>
                          <a:latin typeface="Arial"/>
                        </a:rPr>
                        <a:t>,70</a:t>
                      </a:r>
                      <a:r>
                        <a:rPr lang="en-US" sz="1400" b="0" i="0" u="none" strike="noStrike" dirty="0">
                          <a:solidFill>
                            <a:srgbClr val="000000"/>
                          </a:solidFill>
                          <a:latin typeface="Arial"/>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ctr"/>
                      <a:r>
                        <a:rPr lang="en-US" sz="1400" b="1" i="0" u="none" strike="noStrike" dirty="0">
                          <a:solidFill>
                            <a:srgbClr val="000000"/>
                          </a:solidFill>
                          <a:latin typeface="Arial"/>
                        </a:rPr>
                        <a:t>2</a:t>
                      </a:r>
                      <a:r>
                        <a:rPr lang="el-GR" sz="1400" b="1" i="0" u="none" strike="noStrike" dirty="0">
                          <a:solidFill>
                            <a:srgbClr val="000000"/>
                          </a:solidFill>
                          <a:latin typeface="Arial"/>
                        </a:rPr>
                        <a:t>,65</a:t>
                      </a:r>
                      <a:r>
                        <a:rPr lang="en-US" sz="1400" b="1" i="0" u="none" strike="noStrike" dirty="0">
                          <a:solidFill>
                            <a:srgbClr val="000000"/>
                          </a:solidFill>
                          <a:latin typeface="Arial"/>
                        </a:rPr>
                        <a: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10001"/>
                  </a:ext>
                </a:extLst>
              </a:tr>
              <a:tr h="403200">
                <a:tc>
                  <a:txBody>
                    <a:bodyPr/>
                    <a:lstStyle/>
                    <a:p>
                      <a:pPr marL="231775" indent="0" algn="l" fontAlgn="ctr"/>
                      <a:r>
                        <a:rPr lang="el-GR" sz="1400" b="1" i="0" u="none" strike="noStrike" dirty="0">
                          <a:solidFill>
                            <a:srgbClr val="000000"/>
                          </a:solidFill>
                          <a:latin typeface="Arial"/>
                        </a:rPr>
                        <a:t>Συνταξιούχοι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0" i="0" u="none" strike="noStrike" dirty="0">
                          <a:solidFill>
                            <a:srgbClr val="000000"/>
                          </a:solidFill>
                          <a:latin typeface="Arial"/>
                        </a:rPr>
                        <a:t>1</a:t>
                      </a:r>
                      <a:r>
                        <a:rPr lang="el-GR" sz="1400" b="0" i="0" u="none" strike="noStrike" dirty="0">
                          <a:solidFill>
                            <a:srgbClr val="000000"/>
                          </a:solidFill>
                          <a:latin typeface="Arial"/>
                        </a:rPr>
                        <a:t>,70</a:t>
                      </a:r>
                      <a:r>
                        <a:rPr lang="en-US" sz="1400" b="0" i="0" u="none" strike="noStrike" dirty="0">
                          <a:solidFill>
                            <a:srgbClr val="000000"/>
                          </a:solidFill>
                          <a:latin typeface="Arial"/>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1" i="0" u="none" strike="noStrike" dirty="0">
                          <a:solidFill>
                            <a:srgbClr val="000000"/>
                          </a:solidFill>
                          <a:latin typeface="Arial"/>
                        </a:rPr>
                        <a:t>2</a:t>
                      </a:r>
                      <a:r>
                        <a:rPr lang="el-GR" sz="1400" b="1" i="0" u="none" strike="noStrike" dirty="0">
                          <a:solidFill>
                            <a:srgbClr val="000000"/>
                          </a:solidFill>
                          <a:latin typeface="Arial"/>
                        </a:rPr>
                        <a:t>,65</a:t>
                      </a:r>
                      <a:r>
                        <a:rPr lang="en-US" sz="1400" b="1" i="0" u="none" strike="noStrike" dirty="0">
                          <a:solidFill>
                            <a:srgbClr val="000000"/>
                          </a:solidFill>
                          <a:latin typeface="Arial"/>
                        </a:rPr>
                        <a: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2"/>
                  </a:ext>
                </a:extLst>
              </a:tr>
              <a:tr h="409295">
                <a:tc>
                  <a:txBody>
                    <a:bodyPr/>
                    <a:lstStyle/>
                    <a:p>
                      <a:pPr marL="231775" marR="0" indent="0" algn="l" defTabSz="932962" rtl="0" eaLnBrk="1" fontAlgn="ctr" latinLnBrk="0" hangingPunct="1">
                        <a:lnSpc>
                          <a:spcPct val="100000"/>
                        </a:lnSpc>
                        <a:spcBef>
                          <a:spcPts val="0"/>
                        </a:spcBef>
                        <a:spcAft>
                          <a:spcPts val="0"/>
                        </a:spcAft>
                        <a:buClrTx/>
                        <a:buSzTx/>
                        <a:buFontTx/>
                        <a:buNone/>
                        <a:tabLst/>
                        <a:defRPr/>
                      </a:pPr>
                      <a:r>
                        <a:rPr lang="el-GR" sz="1400" b="1" i="0" u="none" strike="noStrike" dirty="0">
                          <a:solidFill>
                            <a:srgbClr val="000000"/>
                          </a:solidFill>
                          <a:latin typeface="+mn-lt"/>
                        </a:rPr>
                        <a:t>Άλλα Εισοδήματα</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0" i="0" u="none" strike="noStrike" dirty="0">
                          <a:solidFill>
                            <a:srgbClr val="000000"/>
                          </a:solidFill>
                          <a:latin typeface="Arial"/>
                        </a:rPr>
                        <a:t>1</a:t>
                      </a:r>
                      <a:r>
                        <a:rPr lang="el-GR" sz="1400" b="0" i="0" u="none" strike="noStrike" dirty="0">
                          <a:solidFill>
                            <a:srgbClr val="000000"/>
                          </a:solidFill>
                          <a:latin typeface="Arial"/>
                        </a:rPr>
                        <a:t>,70</a:t>
                      </a:r>
                      <a:r>
                        <a:rPr lang="en-US" sz="1400" b="0" i="0" u="none" strike="noStrike" dirty="0">
                          <a:solidFill>
                            <a:srgbClr val="000000"/>
                          </a:solidFill>
                          <a:latin typeface="Arial"/>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1" i="0" u="none" strike="noStrike" dirty="0">
                          <a:solidFill>
                            <a:srgbClr val="000000"/>
                          </a:solidFill>
                          <a:latin typeface="Arial"/>
                        </a:rPr>
                        <a:t>2</a:t>
                      </a:r>
                      <a:r>
                        <a:rPr lang="el-GR" sz="1400" b="1" i="0" u="none" strike="noStrike" dirty="0">
                          <a:solidFill>
                            <a:srgbClr val="000000"/>
                          </a:solidFill>
                          <a:latin typeface="Arial"/>
                        </a:rPr>
                        <a:t>,65</a:t>
                      </a:r>
                      <a:r>
                        <a:rPr lang="en-US" sz="1400" b="1" i="0" u="none" strike="noStrike" dirty="0">
                          <a:solidFill>
                            <a:srgbClr val="000000"/>
                          </a:solidFill>
                          <a:latin typeface="Arial"/>
                        </a:rPr>
                        <a: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3"/>
                  </a:ext>
                </a:extLst>
              </a:tr>
              <a:tr h="409295">
                <a:tc>
                  <a:txBody>
                    <a:bodyPr/>
                    <a:lstStyle/>
                    <a:p>
                      <a:pPr marL="231775" indent="0" algn="l" fontAlgn="ctr"/>
                      <a:r>
                        <a:rPr lang="el-GR" sz="1400" b="1" i="0" u="none" strike="noStrike" dirty="0">
                          <a:solidFill>
                            <a:srgbClr val="000000"/>
                          </a:solidFill>
                          <a:latin typeface="Arial"/>
                        </a:rPr>
                        <a:t>Αξιωματούχοι</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0" i="0" u="none" strike="noStrike" dirty="0">
                          <a:solidFill>
                            <a:srgbClr val="000000"/>
                          </a:solidFill>
                          <a:latin typeface="Arial"/>
                        </a:rPr>
                        <a:t>1</a:t>
                      </a:r>
                      <a:r>
                        <a:rPr lang="el-GR" sz="1400" b="0" i="0" u="none" strike="noStrike" dirty="0">
                          <a:solidFill>
                            <a:srgbClr val="000000"/>
                          </a:solidFill>
                          <a:latin typeface="Arial"/>
                        </a:rPr>
                        <a:t>,70</a:t>
                      </a:r>
                      <a:r>
                        <a:rPr lang="en-US" sz="1400" b="0" i="0" u="none" strike="noStrike" dirty="0">
                          <a:solidFill>
                            <a:srgbClr val="000000"/>
                          </a:solidFill>
                          <a:latin typeface="Arial"/>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solidFill>
                      <a:srgbClr val="FFFFFF"/>
                    </a:solidFill>
                  </a:tcPr>
                </a:tc>
                <a:tc>
                  <a:txBody>
                    <a:bodyPr/>
                    <a:lstStyle/>
                    <a:p>
                      <a:pPr algn="ctr" fontAlgn="ctr"/>
                      <a:r>
                        <a:rPr lang="en-US" sz="1400" b="1" i="0" u="none" strike="noStrike" dirty="0">
                          <a:solidFill>
                            <a:srgbClr val="000000"/>
                          </a:solidFill>
                          <a:latin typeface="Arial"/>
                        </a:rPr>
                        <a:t>2</a:t>
                      </a:r>
                      <a:r>
                        <a:rPr lang="el-GR" sz="1400" b="1" i="0" u="none" strike="noStrike">
                          <a:solidFill>
                            <a:srgbClr val="000000"/>
                          </a:solidFill>
                          <a:latin typeface="Arial"/>
                        </a:rPr>
                        <a:t>,65</a:t>
                      </a:r>
                      <a:r>
                        <a:rPr lang="en-US" sz="1400" b="1" i="0" u="none" strike="noStrike">
                          <a:solidFill>
                            <a:srgbClr val="000000"/>
                          </a:solidFill>
                          <a:latin typeface="Arial"/>
                        </a:rPr>
                        <a:t>%</a:t>
                      </a:r>
                      <a:endParaRPr lang="en-US" sz="1400" b="1" i="0" u="none" strike="noStrike" dirty="0">
                        <a:solidFill>
                          <a:srgbClr val="000000"/>
                        </a:solidFill>
                        <a:latin typeface="Arial"/>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FFFFFF"/>
                    </a:solidFill>
                  </a:tcPr>
                </a:tc>
                <a:extLst>
                  <a:ext uri="{0D108BD9-81ED-4DB2-BD59-A6C34878D82A}">
                    <a16:rowId xmlns:a16="http://schemas.microsoft.com/office/drawing/2014/main" val="10004"/>
                  </a:ext>
                </a:extLst>
              </a:tr>
              <a:tr h="409171">
                <a:tc>
                  <a:txBody>
                    <a:bodyPr/>
                    <a:lstStyle/>
                    <a:p>
                      <a:pPr marL="231775" indent="0" algn="l" fontAlgn="ctr"/>
                      <a:r>
                        <a:rPr lang="el-GR" sz="1400" b="1" i="0" u="none" strike="noStrike" dirty="0">
                          <a:solidFill>
                            <a:srgbClr val="000000"/>
                          </a:solidFill>
                          <a:latin typeface="Arial"/>
                        </a:rPr>
                        <a:t>Αυτοτελώς Εργαζόμενοι</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ctr"/>
                      <a:r>
                        <a:rPr lang="en-US" sz="1400" b="0" i="0" u="none" strike="noStrike" dirty="0">
                          <a:solidFill>
                            <a:srgbClr val="000000"/>
                          </a:solidFill>
                          <a:latin typeface="Arial"/>
                        </a:rPr>
                        <a:t>2</a:t>
                      </a:r>
                      <a:r>
                        <a:rPr lang="el-GR" sz="1400" b="0" i="0" u="none" strike="noStrike" dirty="0">
                          <a:solidFill>
                            <a:srgbClr val="000000"/>
                          </a:solidFill>
                          <a:latin typeface="Arial"/>
                        </a:rPr>
                        <a:t>,55</a:t>
                      </a:r>
                      <a:r>
                        <a:rPr lang="en-US" sz="1400" b="0" i="0" u="none" strike="noStrike" dirty="0">
                          <a:solidFill>
                            <a:srgbClr val="000000"/>
                          </a:solidFill>
                          <a:latin typeface="Arial"/>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ctr"/>
                      <a:r>
                        <a:rPr lang="en-US" sz="1400" b="1" i="0" u="none" strike="noStrike" dirty="0">
                          <a:solidFill>
                            <a:srgbClr val="000000"/>
                          </a:solidFill>
                          <a:latin typeface="Arial"/>
                        </a:rPr>
                        <a:t>4</a:t>
                      </a:r>
                      <a:r>
                        <a:rPr lang="el-GR" sz="1400" b="1" i="0" u="none" strike="noStrike" dirty="0">
                          <a:solidFill>
                            <a:srgbClr val="000000"/>
                          </a:solidFill>
                          <a:latin typeface="Arial"/>
                        </a:rPr>
                        <a:t>,00</a:t>
                      </a:r>
                      <a:r>
                        <a:rPr lang="en-US" sz="1400" b="1" i="0" u="none" strike="noStrike" dirty="0">
                          <a:solidFill>
                            <a:srgbClr val="000000"/>
                          </a:solidFill>
                          <a:latin typeface="Arial"/>
                        </a:rPr>
                        <a: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19040">
                <a:tc>
                  <a:txBody>
                    <a:bodyPr/>
                    <a:lstStyle/>
                    <a:p>
                      <a:pPr marL="231775" indent="0" algn="l" fontAlgn="ctr"/>
                      <a:r>
                        <a:rPr lang="el-GR" sz="1400" b="1" i="0" u="none" strike="noStrike" dirty="0">
                          <a:solidFill>
                            <a:srgbClr val="000000"/>
                          </a:solidFill>
                          <a:latin typeface="Arial"/>
                        </a:rPr>
                        <a:t>Εργοδότες</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ctr"/>
                      <a:r>
                        <a:rPr lang="en-US" sz="1400" b="0" i="0" u="none" strike="noStrike" dirty="0">
                          <a:solidFill>
                            <a:srgbClr val="000000"/>
                          </a:solidFill>
                          <a:latin typeface="Arial"/>
                        </a:rPr>
                        <a:t>1</a:t>
                      </a:r>
                      <a:r>
                        <a:rPr lang="el-GR" sz="1400" b="0" i="0" u="none" strike="noStrike" dirty="0">
                          <a:solidFill>
                            <a:srgbClr val="000000"/>
                          </a:solidFill>
                          <a:latin typeface="Arial"/>
                        </a:rPr>
                        <a:t>,85</a:t>
                      </a:r>
                      <a:r>
                        <a:rPr lang="en-US" sz="1400" b="0" i="0" u="none" strike="noStrike" dirty="0">
                          <a:solidFill>
                            <a:srgbClr val="000000"/>
                          </a:solidFill>
                          <a:latin typeface="Arial"/>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ctr"/>
                      <a:r>
                        <a:rPr lang="en-US" sz="1400" b="1" i="0" u="none" strike="noStrike" dirty="0">
                          <a:solidFill>
                            <a:srgbClr val="000000"/>
                          </a:solidFill>
                          <a:latin typeface="Arial"/>
                        </a:rPr>
                        <a:t>2</a:t>
                      </a:r>
                      <a:r>
                        <a:rPr lang="el-GR" sz="1400" b="1" i="0" u="none" strike="noStrike" dirty="0">
                          <a:solidFill>
                            <a:srgbClr val="000000"/>
                          </a:solidFill>
                          <a:latin typeface="Arial"/>
                        </a:rPr>
                        <a:t>,90</a:t>
                      </a:r>
                      <a:r>
                        <a:rPr lang="en-US" sz="1400" b="1" i="0" u="none" strike="noStrike" dirty="0">
                          <a:solidFill>
                            <a:srgbClr val="000000"/>
                          </a:solidFill>
                          <a:latin typeface="Arial"/>
                        </a:rPr>
                        <a: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99308">
                <a:tc>
                  <a:txBody>
                    <a:bodyPr/>
                    <a:lstStyle/>
                    <a:p>
                      <a:pPr marL="231775" marR="0" indent="0" algn="l" defTabSz="932962" rtl="0" eaLnBrk="1" fontAlgn="ctr" latinLnBrk="0" hangingPunct="1">
                        <a:lnSpc>
                          <a:spcPct val="100000"/>
                        </a:lnSpc>
                        <a:spcBef>
                          <a:spcPts val="0"/>
                        </a:spcBef>
                        <a:spcAft>
                          <a:spcPts val="0"/>
                        </a:spcAft>
                        <a:buClrTx/>
                        <a:buSzTx/>
                        <a:buFontTx/>
                        <a:buNone/>
                        <a:tabLst/>
                        <a:defRPr/>
                      </a:pPr>
                      <a:r>
                        <a:rPr lang="el-GR" sz="1400" b="1" i="0" u="none" strike="noStrike" dirty="0">
                          <a:solidFill>
                            <a:srgbClr val="000000"/>
                          </a:solidFill>
                          <a:latin typeface="+mn-lt"/>
                        </a:rPr>
                        <a:t>Κράτος  </a:t>
                      </a:r>
                      <a:endParaRPr lang="el-GR" sz="1400" b="0" i="0" u="none" strike="noStrike" dirty="0">
                        <a:solidFill>
                          <a:srgbClr val="000000"/>
                        </a:solidFill>
                        <a:latin typeface="+mn-lt"/>
                      </a:endParaRP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ctr"/>
                      <a:r>
                        <a:rPr lang="en-US" sz="1400" b="0" i="0" u="none" strike="noStrike" dirty="0">
                          <a:solidFill>
                            <a:srgbClr val="000000"/>
                          </a:solidFill>
                          <a:latin typeface="Arial"/>
                        </a:rPr>
                        <a:t>1</a:t>
                      </a:r>
                      <a:r>
                        <a:rPr lang="el-GR" sz="1400" b="0" i="0" u="none" strike="noStrike" dirty="0">
                          <a:solidFill>
                            <a:srgbClr val="000000"/>
                          </a:solidFill>
                          <a:latin typeface="Arial"/>
                        </a:rPr>
                        <a:t>,65</a:t>
                      </a:r>
                      <a:r>
                        <a:rPr lang="en-US" sz="1400" b="0" i="0" u="none" strike="noStrike" dirty="0">
                          <a:solidFill>
                            <a:srgbClr val="000000"/>
                          </a:solidFill>
                          <a:latin typeface="Arial"/>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tc>
                  <a:txBody>
                    <a:bodyPr/>
                    <a:lstStyle/>
                    <a:p>
                      <a:pPr algn="ctr" fontAlgn="ctr"/>
                      <a:r>
                        <a:rPr lang="el-GR" sz="1400" b="1" i="0" u="none" strike="noStrike" dirty="0">
                          <a:solidFill>
                            <a:srgbClr val="000000"/>
                          </a:solidFill>
                          <a:latin typeface="Arial"/>
                        </a:rPr>
                        <a:t>4,70</a:t>
                      </a:r>
                      <a:r>
                        <a:rPr lang="en-US" sz="1400" b="1" i="0" u="none" strike="noStrike" dirty="0">
                          <a:solidFill>
                            <a:srgbClr val="000000"/>
                          </a:solidFill>
                          <a:latin typeface="Arial"/>
                        </a:rPr>
                        <a:t>%</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no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99308">
                <a:tc gridSpan="3">
                  <a:txBody>
                    <a:bodyPr/>
                    <a:lstStyle/>
                    <a:p>
                      <a:pPr marL="231775" marR="0" indent="0" algn="l" defTabSz="932962" rtl="0" eaLnBrk="1" fontAlgn="ctr" latinLnBrk="0" hangingPunct="1">
                        <a:lnSpc>
                          <a:spcPct val="100000"/>
                        </a:lnSpc>
                        <a:spcBef>
                          <a:spcPts val="0"/>
                        </a:spcBef>
                        <a:spcAft>
                          <a:spcPts val="0"/>
                        </a:spcAft>
                        <a:buClrTx/>
                        <a:buSzTx/>
                        <a:buFontTx/>
                        <a:buNone/>
                        <a:tabLst/>
                        <a:defRPr/>
                      </a:pPr>
                      <a:endParaRPr lang="el-GR" sz="900" dirty="0"/>
                    </a:p>
                    <a:p>
                      <a:pPr marL="231775" marR="0" indent="0" algn="l" defTabSz="932962" rtl="0" eaLnBrk="1" fontAlgn="ctr" latinLnBrk="0" hangingPunct="1">
                        <a:lnSpc>
                          <a:spcPct val="100000"/>
                        </a:lnSpc>
                        <a:spcBef>
                          <a:spcPts val="0"/>
                        </a:spcBef>
                        <a:spcAft>
                          <a:spcPts val="0"/>
                        </a:spcAft>
                        <a:buClrTx/>
                        <a:buSzTx/>
                        <a:buFontTx/>
                        <a:buNone/>
                        <a:tabLst/>
                        <a:defRPr/>
                      </a:pPr>
                      <a:r>
                        <a:rPr lang="el-GR" sz="1600" dirty="0"/>
                        <a:t>Για σκοπούς υπολογισμού του ποσού εισφοράς ανά φυσικό πρόσωπο, εφαρμόζεται οροφή στα εισοδήματα ύψους €180.000. </a:t>
                      </a:r>
                    </a:p>
                    <a:p>
                      <a:pPr marL="231775" marR="0" indent="0" algn="l" defTabSz="932962" rtl="0" eaLnBrk="1" fontAlgn="ctr" latinLnBrk="0" hangingPunct="1">
                        <a:lnSpc>
                          <a:spcPct val="100000"/>
                        </a:lnSpc>
                        <a:spcBef>
                          <a:spcPts val="0"/>
                        </a:spcBef>
                        <a:spcAft>
                          <a:spcPts val="0"/>
                        </a:spcAft>
                        <a:buClrTx/>
                        <a:buSzTx/>
                        <a:buFontTx/>
                        <a:buNone/>
                        <a:tabLst/>
                        <a:defRPr/>
                      </a:pPr>
                      <a:endParaRPr lang="el-GR" sz="1600" dirty="0"/>
                    </a:p>
                    <a:p>
                      <a:pPr marL="231775" marR="0" indent="0" algn="l" defTabSz="932962" rtl="0" eaLnBrk="1" fontAlgn="ctr" latinLnBrk="0" hangingPunct="1">
                        <a:lnSpc>
                          <a:spcPct val="100000"/>
                        </a:lnSpc>
                        <a:spcBef>
                          <a:spcPts val="0"/>
                        </a:spcBef>
                        <a:spcAft>
                          <a:spcPts val="0"/>
                        </a:spcAft>
                        <a:buClrTx/>
                        <a:buSzTx/>
                        <a:buFontTx/>
                        <a:buNone/>
                        <a:tabLst/>
                        <a:defRPr/>
                      </a:pPr>
                      <a:endParaRPr lang="el-GR" sz="800" b="0" i="0" u="none" strike="noStrike" dirty="0">
                        <a:solidFill>
                          <a:srgbClr val="000000"/>
                        </a:solidFill>
                        <a:latin typeface="+mn-lt"/>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chemeClr val="accent6"/>
                    </a:solidFill>
                  </a:tcPr>
                </a:tc>
                <a:tc hMerge="1">
                  <a:txBody>
                    <a:bodyPr/>
                    <a:lstStyle/>
                    <a:p>
                      <a:pPr algn="ctr" fontAlgn="ctr"/>
                      <a:endParaRPr lang="en-US" sz="1200" b="0" i="0" u="none" strike="noStrike" dirty="0">
                        <a:solidFill>
                          <a:srgbClr val="000000"/>
                        </a:solidFill>
                        <a:latin typeface="Arial"/>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tc hMerge="1">
                  <a:txBody>
                    <a:bodyPr/>
                    <a:lstStyle/>
                    <a:p>
                      <a:pPr algn="ctr" fontAlgn="ctr"/>
                      <a:endParaRPr lang="en-US" sz="1200" b="1" i="0" u="none" strike="noStrike" dirty="0">
                        <a:solidFill>
                          <a:srgbClr val="000000"/>
                        </a:solidFill>
                        <a:latin typeface="Arial"/>
                      </a:endParaRP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bl>
          </a:graphicData>
        </a:graphic>
      </p:graphicFrame>
      <p:sp>
        <p:nvSpPr>
          <p:cNvPr id="25640" name="TextBox 6"/>
          <p:cNvSpPr txBox="1">
            <a:spLocks noChangeArrowheads="1"/>
          </p:cNvSpPr>
          <p:nvPr/>
        </p:nvSpPr>
        <p:spPr bwMode="auto">
          <a:xfrm>
            <a:off x="31898" y="5922069"/>
            <a:ext cx="9122733" cy="736818"/>
          </a:xfrm>
          <a:prstGeom prst="rect">
            <a:avLst/>
          </a:prstGeom>
          <a:noFill/>
          <a:ln w="9525">
            <a:noFill/>
            <a:miter lim="800000"/>
            <a:headEnd/>
            <a:tailEnd/>
          </a:ln>
        </p:spPr>
        <p:txBody>
          <a:bodyPr wrap="square" lIns="89611" tIns="44806" rIns="89611" bIns="44806">
            <a:spAutoFit/>
          </a:bodyPr>
          <a:lstStyle/>
          <a:p>
            <a:r>
              <a:rPr lang="el-GR" sz="1400" b="1" dirty="0"/>
              <a:t>*</a:t>
            </a:r>
            <a:r>
              <a:rPr lang="el-GR" sz="1400" dirty="0"/>
              <a:t>  Ποσοστά εισφορών που θα αποκόπτονται από 1</a:t>
            </a:r>
            <a:r>
              <a:rPr lang="el-GR" sz="1400" baseline="30000" dirty="0"/>
              <a:t>η</a:t>
            </a:r>
            <a:r>
              <a:rPr lang="el-GR" sz="1400" dirty="0"/>
              <a:t> Μαρτίου 2019 για εφαρμογή </a:t>
            </a:r>
            <a:r>
              <a:rPr lang="el-GR" sz="1400" dirty="0" err="1"/>
              <a:t>εξωνοσοκομειακής</a:t>
            </a:r>
            <a:r>
              <a:rPr lang="el-GR" sz="1400" dirty="0"/>
              <a:t> φροντίδας </a:t>
            </a:r>
          </a:p>
          <a:p>
            <a:r>
              <a:rPr lang="el-GR" sz="1400" b="1" dirty="0"/>
              <a:t>** </a:t>
            </a:r>
            <a:r>
              <a:rPr lang="el-GR" sz="1400" dirty="0"/>
              <a:t>Ποσοστά εισφορών που θα αποκόπτονται από 1</a:t>
            </a:r>
            <a:r>
              <a:rPr lang="el-GR" sz="1400" baseline="30000" dirty="0"/>
              <a:t>η</a:t>
            </a:r>
            <a:r>
              <a:rPr lang="el-GR" sz="1400" dirty="0"/>
              <a:t> Μαρτίου 2020 για πλήρη εφαρμογή του ΓεΣΥ</a:t>
            </a:r>
          </a:p>
          <a:p>
            <a:pPr>
              <a:buFont typeface="Arial" pitchFamily="34" charset="0"/>
              <a:buChar char="•"/>
            </a:pPr>
            <a:endParaRPr lang="el-GR" sz="1400" dirty="0"/>
          </a:p>
        </p:txBody>
      </p:sp>
      <p:sp>
        <p:nvSpPr>
          <p:cNvPr id="9" name="Rectangle 9"/>
          <p:cNvSpPr txBox="1">
            <a:spLocks noChangeArrowheads="1"/>
          </p:cNvSpPr>
          <p:nvPr>
            <p:custDataLst>
              <p:tags r:id="rId1"/>
            </p:custDataLst>
          </p:nvPr>
        </p:nvSpPr>
        <p:spPr bwMode="gray">
          <a:xfrm>
            <a:off x="0" y="0"/>
            <a:ext cx="8177213" cy="292388"/>
          </a:xfrm>
          <a:prstGeom prst="rect">
            <a:avLst/>
          </a:prstGeom>
          <a:noFill/>
          <a:ln w="9525">
            <a:noFill/>
            <a:miter lim="800000"/>
            <a:headEnd/>
            <a:tailEnd/>
          </a:ln>
          <a:effectLst/>
        </p:spPr>
        <p:txBody>
          <a:bodyPr lIns="0" tIns="0" rIns="0" bIns="0">
            <a:spAutoFit/>
          </a:bodyPr>
          <a:lstStyle/>
          <a:p>
            <a:pPr marL="359962" defTabSz="895255">
              <a:defRPr/>
            </a:pPr>
            <a:r>
              <a:rPr lang="el-GR" sz="1900" b="1" kern="0" dirty="0">
                <a:solidFill>
                  <a:schemeClr val="accent6">
                    <a:lumMod val="50000"/>
                  </a:schemeClr>
                </a:solidFill>
                <a:latin typeface="+mj-lt"/>
                <a:ea typeface="+mj-ea"/>
                <a:cs typeface="+mj-cs"/>
              </a:rPr>
              <a:t> </a:t>
            </a:r>
            <a:endParaRPr lang="en-US" b="1" kern="0" dirty="0">
              <a:solidFill>
                <a:schemeClr val="accent6">
                  <a:lumMod val="50000"/>
                </a:schemeClr>
              </a:solidFill>
              <a:latin typeface="+mj-lt"/>
              <a:ea typeface="+mj-ea"/>
              <a:cs typeface="+mj-cs"/>
            </a:endParaRPr>
          </a:p>
        </p:txBody>
      </p:sp>
      <p:grpSp>
        <p:nvGrpSpPr>
          <p:cNvPr id="6" name="Group 5"/>
          <p:cNvGrpSpPr>
            <a:grpSpLocks/>
          </p:cNvGrpSpPr>
          <p:nvPr/>
        </p:nvGrpSpPr>
        <p:grpSpPr bwMode="auto">
          <a:xfrm>
            <a:off x="146050" y="247648"/>
            <a:ext cx="6233566" cy="381600"/>
            <a:chOff x="359153" y="455259"/>
            <a:chExt cx="3639649" cy="1072566"/>
          </a:xfrm>
        </p:grpSpPr>
        <p:sp>
          <p:nvSpPr>
            <p:cNvPr id="7" name="Rounded Rectangle 6"/>
            <p:cNvSpPr/>
            <p:nvPr/>
          </p:nvSpPr>
          <p:spPr>
            <a:xfrm>
              <a:off x="359153" y="455259"/>
              <a:ext cx="3620977" cy="1072566"/>
            </a:xfrm>
            <a:prstGeom prst="round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11" name="Rounded Rectangle 4"/>
            <p:cNvSpPr/>
            <p:nvPr/>
          </p:nvSpPr>
          <p:spPr>
            <a:xfrm>
              <a:off x="365386" y="557265"/>
              <a:ext cx="3633416" cy="946725"/>
            </a:xfrm>
            <a:prstGeom prst="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defTabSz="1066800">
                <a:lnSpc>
                  <a:spcPct val="90000"/>
                </a:lnSpc>
                <a:defRPr/>
              </a:pPr>
              <a:r>
                <a:rPr lang="el-GR" sz="2000" b="1" dirty="0"/>
                <a:t>Κατηγορίες </a:t>
              </a:r>
              <a:r>
                <a:rPr lang="el-GR" sz="2000" b="1" dirty="0" err="1"/>
                <a:t>εισφορέων</a:t>
              </a:r>
              <a:r>
                <a:rPr lang="el-GR" sz="2000" b="1" dirty="0"/>
                <a:t>  και ποσοστά εισφορών</a:t>
              </a:r>
              <a:endParaRPr lang="en-GB" sz="2000" b="1" dirty="0"/>
            </a:p>
          </p:txBody>
        </p:sp>
      </p:grpSp>
    </p:spTree>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Number Placeholder 3"/>
          <p:cNvSpPr>
            <a:spLocks noGrp="1"/>
          </p:cNvSpPr>
          <p:nvPr>
            <p:ph type="sldNum" sz="quarter" idx="10"/>
          </p:nvPr>
        </p:nvSpPr>
        <p:spPr/>
        <p:txBody>
          <a:bodyPr/>
          <a:lstStyle/>
          <a:p>
            <a:pPr>
              <a:defRPr/>
            </a:pPr>
            <a:fld id="{7D25D698-F511-4D6D-B7B4-851F834ED6DA}" type="slidenum">
              <a:rPr lang="en-GB" smtClean="0">
                <a:ea typeface="ＭＳ Ｐゴシック" pitchFamily="34" charset="-128"/>
              </a:rPr>
              <a:pPr>
                <a:defRPr/>
              </a:pPr>
              <a:t>22</a:t>
            </a:fld>
            <a:endParaRPr lang="en-GB">
              <a:ea typeface="ＭＳ Ｐゴシック" pitchFamily="34" charset="-128"/>
            </a:endParaRPr>
          </a:p>
        </p:txBody>
      </p:sp>
      <p:graphicFrame>
        <p:nvGraphicFramePr>
          <p:cNvPr id="8" name="Diagram 7"/>
          <p:cNvGraphicFramePr/>
          <p:nvPr/>
        </p:nvGraphicFramePr>
        <p:xfrm>
          <a:off x="177800" y="850900"/>
          <a:ext cx="8655050" cy="4381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6629" name="TextBox 8"/>
          <p:cNvSpPr txBox="1">
            <a:spLocks noChangeArrowheads="1"/>
          </p:cNvSpPr>
          <p:nvPr/>
        </p:nvSpPr>
        <p:spPr bwMode="auto">
          <a:xfrm>
            <a:off x="3545962" y="1433780"/>
            <a:ext cx="3746500" cy="1052596"/>
          </a:xfrm>
          <a:prstGeom prst="rect">
            <a:avLst/>
          </a:prstGeom>
          <a:noFill/>
          <a:ln w="9525">
            <a:noFill/>
            <a:miter lim="800000"/>
            <a:headEnd/>
            <a:tailEnd/>
          </a:ln>
        </p:spPr>
        <p:txBody>
          <a:bodyPr wrap="square">
            <a:spAutoFit/>
          </a:bodyPr>
          <a:lstStyle/>
          <a:p>
            <a:pPr marL="342900" defTabSz="800100">
              <a:lnSpc>
                <a:spcPct val="90000"/>
              </a:lnSpc>
              <a:spcAft>
                <a:spcPct val="15000"/>
              </a:spcAft>
              <a:buFont typeface="Arial" pitchFamily="34" charset="0"/>
              <a:buChar char="•"/>
            </a:pPr>
            <a:r>
              <a:rPr lang="el-GR" dirty="0"/>
              <a:t> Υπεύθυνη χρήση</a:t>
            </a:r>
          </a:p>
          <a:p>
            <a:pPr marL="342900" defTabSz="800100">
              <a:lnSpc>
                <a:spcPct val="90000"/>
              </a:lnSpc>
              <a:spcAft>
                <a:spcPct val="15000"/>
              </a:spcAft>
              <a:buFont typeface="Arial" pitchFamily="34" charset="0"/>
              <a:buChar char="•"/>
            </a:pPr>
            <a:r>
              <a:rPr lang="el-GR" dirty="0"/>
              <a:t> Αποφυγή κατάχρησης και σπατάλης</a:t>
            </a:r>
          </a:p>
          <a:p>
            <a:pPr marL="342900" defTabSz="800100">
              <a:lnSpc>
                <a:spcPct val="90000"/>
              </a:lnSpc>
              <a:spcAft>
                <a:spcPct val="15000"/>
              </a:spcAft>
            </a:pPr>
            <a:endParaRPr lang="en-GB" dirty="0"/>
          </a:p>
        </p:txBody>
      </p:sp>
      <p:sp>
        <p:nvSpPr>
          <p:cNvPr id="11" name="TextBox 10"/>
          <p:cNvSpPr txBox="1"/>
          <p:nvPr/>
        </p:nvSpPr>
        <p:spPr>
          <a:xfrm>
            <a:off x="3554295" y="3104707"/>
            <a:ext cx="4478227" cy="2603790"/>
          </a:xfrm>
          <a:prstGeom prst="rect">
            <a:avLst/>
          </a:prstGeom>
          <a:noFill/>
        </p:spPr>
        <p:txBody>
          <a:bodyPr wrap="square">
            <a:spAutoFit/>
          </a:bodyPr>
          <a:lstStyle/>
          <a:p>
            <a:pPr marL="342900" defTabSz="800100">
              <a:lnSpc>
                <a:spcPct val="90000"/>
              </a:lnSpc>
              <a:spcAft>
                <a:spcPct val="15000"/>
              </a:spcAft>
              <a:buFont typeface="Arial" pitchFamily="34" charset="0"/>
              <a:buChar char="•"/>
              <a:defRPr/>
            </a:pPr>
            <a:r>
              <a:rPr lang="el-GR" dirty="0">
                <a:latin typeface="Arial" charset="0"/>
              </a:rPr>
              <a:t> Εφαρμογή </a:t>
            </a:r>
            <a:r>
              <a:rPr lang="el-GR" u="sng" dirty="0">
                <a:latin typeface="Arial" charset="0"/>
              </a:rPr>
              <a:t>ετήσιας οροφής</a:t>
            </a:r>
            <a:r>
              <a:rPr lang="el-GR" dirty="0">
                <a:latin typeface="Arial" charset="0"/>
              </a:rPr>
              <a:t> (ανώτατο όριο </a:t>
            </a:r>
            <a:r>
              <a:rPr lang="el-GR" dirty="0" err="1">
                <a:latin typeface="Arial" charset="0"/>
              </a:rPr>
              <a:t>συμπληρωμής</a:t>
            </a:r>
            <a:r>
              <a:rPr lang="el-GR" dirty="0">
                <a:latin typeface="Arial" charset="0"/>
              </a:rPr>
              <a:t>)</a:t>
            </a:r>
            <a:r>
              <a:rPr lang="en-US" dirty="0">
                <a:latin typeface="Arial" charset="0"/>
              </a:rPr>
              <a:t>:</a:t>
            </a:r>
            <a:endParaRPr lang="el-GR" dirty="0">
              <a:latin typeface="Arial" charset="0"/>
            </a:endParaRPr>
          </a:p>
          <a:p>
            <a:pPr marL="800100" lvl="1" defTabSz="622300">
              <a:lnSpc>
                <a:spcPct val="90000"/>
              </a:lnSpc>
              <a:spcAft>
                <a:spcPct val="15000"/>
              </a:spcAft>
              <a:buFont typeface="Wingdings" pitchFamily="2" charset="2"/>
              <a:buChar char="ü"/>
            </a:pPr>
            <a:r>
              <a:rPr lang="el-GR" dirty="0"/>
              <a:t>Γενικός Πληθυσμός: €300</a:t>
            </a:r>
          </a:p>
          <a:p>
            <a:pPr marL="800100" lvl="1" defTabSz="622300">
              <a:lnSpc>
                <a:spcPct val="90000"/>
              </a:lnSpc>
              <a:spcAft>
                <a:spcPct val="15000"/>
              </a:spcAft>
              <a:buFont typeface="Wingdings" pitchFamily="2" charset="2"/>
              <a:buChar char="ü"/>
            </a:pPr>
            <a:r>
              <a:rPr lang="el-GR" dirty="0"/>
              <a:t>Παιδιά</a:t>
            </a:r>
            <a:r>
              <a:rPr lang="en-GB" dirty="0"/>
              <a:t> </a:t>
            </a:r>
            <a:r>
              <a:rPr lang="el-GR" dirty="0"/>
              <a:t>κάτω των 21 ετών: €75</a:t>
            </a:r>
          </a:p>
          <a:p>
            <a:pPr marL="800100" lvl="1" defTabSz="622300">
              <a:lnSpc>
                <a:spcPct val="90000"/>
              </a:lnSpc>
              <a:spcAft>
                <a:spcPct val="15000"/>
              </a:spcAft>
              <a:buFont typeface="Wingdings" pitchFamily="2" charset="2"/>
              <a:buChar char="ü"/>
            </a:pPr>
            <a:r>
              <a:rPr lang="el-GR" dirty="0"/>
              <a:t>Χαμηλοσυνταξιούχοι: €75</a:t>
            </a:r>
          </a:p>
          <a:p>
            <a:pPr marL="800100" lvl="1" defTabSz="622300">
              <a:lnSpc>
                <a:spcPct val="90000"/>
              </a:lnSpc>
              <a:spcAft>
                <a:spcPct val="15000"/>
              </a:spcAft>
              <a:buFont typeface="Wingdings" pitchFamily="2" charset="2"/>
              <a:buChar char="ü"/>
            </a:pPr>
            <a:r>
              <a:rPr lang="el-GR" dirty="0"/>
              <a:t>Λήπτες βοηθήματος ΕΕΕ: €75</a:t>
            </a:r>
          </a:p>
          <a:p>
            <a:pPr marL="342900" defTabSz="800100">
              <a:lnSpc>
                <a:spcPct val="90000"/>
              </a:lnSpc>
              <a:spcAft>
                <a:spcPct val="15000"/>
              </a:spcAft>
              <a:buFont typeface="Arial" pitchFamily="34" charset="0"/>
              <a:buChar char="•"/>
              <a:defRPr/>
            </a:pPr>
            <a:endParaRPr lang="el-GR" dirty="0">
              <a:latin typeface="Arial" charset="0"/>
            </a:endParaRPr>
          </a:p>
          <a:p>
            <a:pPr>
              <a:defRPr/>
            </a:pPr>
            <a:endParaRPr lang="el-GR" dirty="0">
              <a:latin typeface="Arial" charset="0"/>
            </a:endParaRPr>
          </a:p>
          <a:p>
            <a:pPr>
              <a:defRPr/>
            </a:pPr>
            <a:endParaRPr lang="en-GB" dirty="0">
              <a:latin typeface="Arial" charset="0"/>
            </a:endParaRPr>
          </a:p>
          <a:p>
            <a:pPr>
              <a:defRPr/>
            </a:pPr>
            <a:endParaRPr lang="el-GR" dirty="0">
              <a:latin typeface="Arial" charset="0"/>
            </a:endParaRPr>
          </a:p>
        </p:txBody>
      </p:sp>
      <p:grpSp>
        <p:nvGrpSpPr>
          <p:cNvPr id="10" name="Group 9"/>
          <p:cNvGrpSpPr>
            <a:grpSpLocks/>
          </p:cNvGrpSpPr>
          <p:nvPr/>
        </p:nvGrpSpPr>
        <p:grpSpPr bwMode="auto">
          <a:xfrm>
            <a:off x="107950" y="209550"/>
            <a:ext cx="5697427" cy="381600"/>
            <a:chOff x="359153" y="635270"/>
            <a:chExt cx="3844470" cy="840050"/>
          </a:xfrm>
        </p:grpSpPr>
        <p:sp>
          <p:nvSpPr>
            <p:cNvPr id="12" name="Rounded Rectangle 11"/>
            <p:cNvSpPr/>
            <p:nvPr/>
          </p:nvSpPr>
          <p:spPr>
            <a:xfrm>
              <a:off x="359153" y="635270"/>
              <a:ext cx="3844470" cy="840050"/>
            </a:xfrm>
            <a:prstGeom prst="round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13" name="Rounded Rectangle 4"/>
            <p:cNvSpPr/>
            <p:nvPr/>
          </p:nvSpPr>
          <p:spPr>
            <a:xfrm>
              <a:off x="396573" y="707274"/>
              <a:ext cx="3762856" cy="756045"/>
            </a:xfrm>
            <a:prstGeom prst="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defTabSz="1066800">
                <a:lnSpc>
                  <a:spcPct val="90000"/>
                </a:lnSpc>
                <a:defRPr/>
              </a:pPr>
              <a:r>
                <a:rPr lang="el-GR" sz="2000" b="1" dirty="0" err="1"/>
                <a:t>Συμπληρωμές</a:t>
              </a:r>
              <a:endParaRPr lang="en-GB" sz="2000" b="1" dirty="0"/>
            </a:p>
          </p:txBody>
        </p:sp>
      </p:grpSp>
      <p:sp>
        <p:nvSpPr>
          <p:cNvPr id="14" name="TextBox 13"/>
          <p:cNvSpPr txBox="1"/>
          <p:nvPr/>
        </p:nvSpPr>
        <p:spPr>
          <a:xfrm>
            <a:off x="590550" y="5238646"/>
            <a:ext cx="7366000" cy="1323439"/>
          </a:xfrm>
          <a:prstGeom prst="rect">
            <a:avLst/>
          </a:prstGeom>
          <a:solidFill>
            <a:schemeClr val="accent6">
              <a:lumMod val="20000"/>
              <a:lumOff val="80000"/>
            </a:schemeClr>
          </a:solidFill>
        </p:spPr>
        <p:txBody>
          <a:bodyPr wrap="square" rtlCol="0">
            <a:spAutoFit/>
          </a:bodyPr>
          <a:lstStyle/>
          <a:p>
            <a:r>
              <a:rPr lang="el-GR" b="1" u="sng" dirty="0"/>
              <a:t>Δεν εφαρμόζεται συμπληρωμή</a:t>
            </a:r>
          </a:p>
          <a:p>
            <a:pPr>
              <a:buFont typeface="Wingdings" pitchFamily="2" charset="2"/>
              <a:buChar char="Ø"/>
            </a:pPr>
            <a:r>
              <a:rPr lang="el-GR" dirty="0"/>
              <a:t> Στον Προσωπικού Ιατρό</a:t>
            </a:r>
          </a:p>
          <a:p>
            <a:pPr>
              <a:buFont typeface="Wingdings" pitchFamily="2" charset="2"/>
              <a:buChar char="Ø"/>
            </a:pPr>
            <a:r>
              <a:rPr lang="el-GR" dirty="0"/>
              <a:t> Στη χρήση Ασθενοφόρου</a:t>
            </a:r>
          </a:p>
          <a:p>
            <a:pPr>
              <a:buFont typeface="Wingdings" pitchFamily="2" charset="2"/>
              <a:buChar char="Ø"/>
            </a:pPr>
            <a:r>
              <a:rPr lang="el-GR" dirty="0"/>
              <a:t> Στην Ενδονοσοκομειακή Φροντίδα</a:t>
            </a:r>
          </a:p>
          <a:p>
            <a:pPr>
              <a:buFont typeface="Wingdings" pitchFamily="2" charset="2"/>
              <a:buChar char="Ø"/>
            </a:pPr>
            <a:r>
              <a:rPr lang="el-GR" dirty="0"/>
              <a:t> Στην προληπτική Οδοντιατρική Φροντίδα </a:t>
            </a:r>
          </a:p>
        </p:txBody>
      </p:sp>
    </p:spTree>
  </p:cSld>
  <p:clrMapOvr>
    <a:masterClrMapping/>
  </p:clrMapOvr>
  <p:transition spd="med">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216985" y="1648047"/>
            <a:ext cx="6477000" cy="1839432"/>
          </a:xfrm>
          <a:prstGeom prst="rect">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p>
            <a:pPr algn="ctr">
              <a:defRPr/>
            </a:pPr>
            <a:endParaRPr lang="en-US" sz="1100" b="1" dirty="0">
              <a:solidFill>
                <a:schemeClr val="tx1"/>
              </a:solidFill>
            </a:endParaRPr>
          </a:p>
        </p:txBody>
      </p:sp>
      <p:sp>
        <p:nvSpPr>
          <p:cNvPr id="28677" name="TextBox 3"/>
          <p:cNvSpPr txBox="1">
            <a:spLocks noChangeArrowheads="1"/>
          </p:cNvSpPr>
          <p:nvPr/>
        </p:nvSpPr>
        <p:spPr bwMode="auto">
          <a:xfrm>
            <a:off x="1212850" y="2270125"/>
            <a:ext cx="6473825" cy="506413"/>
          </a:xfrm>
          <a:prstGeom prst="rect">
            <a:avLst/>
          </a:prstGeom>
          <a:noFill/>
          <a:ln w="9525">
            <a:noFill/>
            <a:miter lim="800000"/>
            <a:headEnd/>
            <a:tailEnd/>
          </a:ln>
        </p:spPr>
        <p:txBody>
          <a:bodyPr lIns="89611" tIns="44806" rIns="89611" bIns="44806">
            <a:spAutoFit/>
          </a:bodyPr>
          <a:lstStyle/>
          <a:p>
            <a:pPr marL="514350" indent="-514350" algn="ctr"/>
            <a:r>
              <a:rPr lang="el-GR" sz="2700" b="1" dirty="0">
                <a:solidFill>
                  <a:schemeClr val="bg1"/>
                </a:solidFill>
              </a:rPr>
              <a:t>4. Σύστημα Πληροφορικής ΓεΣΥ</a:t>
            </a:r>
            <a:endParaRPr lang="en-US" sz="2700" b="1" dirty="0">
              <a:solidFill>
                <a:schemeClr val="bg1"/>
              </a:solidFill>
            </a:endParaRPr>
          </a:p>
        </p:txBody>
      </p:sp>
      <p:sp>
        <p:nvSpPr>
          <p:cNvPr id="6150" name="Slide Number Placeholder 5"/>
          <p:cNvSpPr>
            <a:spLocks noGrp="1"/>
          </p:cNvSpPr>
          <p:nvPr>
            <p:ph type="sldNum" sz="quarter" idx="10"/>
          </p:nvPr>
        </p:nvSpPr>
        <p:spPr>
          <a:xfrm>
            <a:off x="6870700" y="6511925"/>
            <a:ext cx="1866900" cy="169863"/>
          </a:xfrm>
        </p:spPr>
        <p:txBody>
          <a:bodyPr/>
          <a:lstStyle/>
          <a:p>
            <a:pPr>
              <a:defRPr/>
            </a:pPr>
            <a:fld id="{F6D78C40-8194-4571-A9DA-9B10178DBBEC}" type="slidenum">
              <a:rPr lang="en-US" smtClean="0">
                <a:ea typeface="ＭＳ Ｐゴシック" pitchFamily="34" charset="-128"/>
              </a:rPr>
              <a:pPr>
                <a:defRPr/>
              </a:pPr>
              <a:t>23</a:t>
            </a:fld>
            <a:endParaRPr lang="en-US">
              <a:ea typeface="ＭＳ Ｐゴシック" pitchFamily="34" charset="-128"/>
            </a:endParaRPr>
          </a:p>
        </p:txBody>
      </p:sp>
    </p:spTree>
  </p:cSld>
  <p:clrMapOvr>
    <a:masterClrMapping/>
  </p:clrMapOvr>
  <p:transition spd="med">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17"/>
          <p:cNvSpPr>
            <a:spLocks noGrp="1"/>
          </p:cNvSpPr>
          <p:nvPr>
            <p:ph type="sldNum" sz="quarter" idx="10"/>
          </p:nvPr>
        </p:nvSpPr>
        <p:spPr/>
        <p:txBody>
          <a:bodyPr/>
          <a:lstStyle/>
          <a:p>
            <a:pPr>
              <a:defRPr/>
            </a:pPr>
            <a:fld id="{98B3FBCB-235D-415F-B4F6-5D9E5679A985}" type="slidenum">
              <a:rPr lang="en-US" smtClean="0"/>
              <a:pPr>
                <a:defRPr/>
              </a:pPr>
              <a:t>24</a:t>
            </a:fld>
            <a:endParaRPr lang="en-US"/>
          </a:p>
        </p:txBody>
      </p:sp>
      <p:pic>
        <p:nvPicPr>
          <p:cNvPr id="14340" name="Picture 21" descr="C:\Users\a.tsinontides\AppData\Local\Microsoft\Windows\Temporary Internet Files\Content.IE5\BPRX174Z\google-X-baseline-project-kzHF-U11002405287448xC-1024x576%40LaStampa.it[1].jpg"/>
          <p:cNvPicPr>
            <a:picLocks noChangeAspect="1" noChangeArrowheads="1"/>
          </p:cNvPicPr>
          <p:nvPr/>
        </p:nvPicPr>
        <p:blipFill>
          <a:blip r:embed="rId2" cstate="print"/>
          <a:srcRect/>
          <a:stretch>
            <a:fillRect/>
          </a:stretch>
        </p:blipFill>
        <p:spPr bwMode="auto">
          <a:xfrm>
            <a:off x="1195388" y="2259013"/>
            <a:ext cx="4252912" cy="2393950"/>
          </a:xfrm>
          <a:prstGeom prst="rect">
            <a:avLst/>
          </a:prstGeom>
          <a:noFill/>
          <a:ln w="9525">
            <a:noFill/>
            <a:miter lim="800000"/>
            <a:headEnd/>
            <a:tailEnd/>
          </a:ln>
        </p:spPr>
      </p:pic>
      <p:pic>
        <p:nvPicPr>
          <p:cNvPr id="14341" name="Picture 22" descr="C:\Users\a.tsinontides\AppData\Local\Microsoft\Windows\Temporary Internet Files\Content.IE5\UXW521C3\stock-photo-diferent-tablets-pills-capsule-heap-mix-therapy-drugs-doctor-flu-antibiotic-pharmacy-medicine-184787189[1].jpg"/>
          <p:cNvPicPr>
            <a:picLocks noChangeAspect="1" noChangeArrowheads="1"/>
          </p:cNvPicPr>
          <p:nvPr/>
        </p:nvPicPr>
        <p:blipFill>
          <a:blip r:embed="rId3" cstate="print"/>
          <a:srcRect/>
          <a:stretch>
            <a:fillRect/>
          </a:stretch>
        </p:blipFill>
        <p:spPr bwMode="auto">
          <a:xfrm>
            <a:off x="6783388" y="1016000"/>
            <a:ext cx="1428750" cy="1282700"/>
          </a:xfrm>
          <a:prstGeom prst="rect">
            <a:avLst/>
          </a:prstGeom>
          <a:noFill/>
          <a:ln w="9525">
            <a:noFill/>
            <a:miter lim="800000"/>
            <a:headEnd/>
            <a:tailEnd/>
          </a:ln>
        </p:spPr>
      </p:pic>
      <p:pic>
        <p:nvPicPr>
          <p:cNvPr id="14342" name="Picture 31" descr="C:\Users\a.tsinontides\AppData\Local\Microsoft\Windows\Temporary Internet Files\Content.IE5\UXW521C3\lab-result-log[1].png"/>
          <p:cNvPicPr>
            <a:picLocks noChangeAspect="1" noChangeArrowheads="1"/>
          </p:cNvPicPr>
          <p:nvPr/>
        </p:nvPicPr>
        <p:blipFill>
          <a:blip r:embed="rId4" cstate="print"/>
          <a:srcRect/>
          <a:stretch>
            <a:fillRect/>
          </a:stretch>
        </p:blipFill>
        <p:spPr bwMode="auto">
          <a:xfrm>
            <a:off x="7018338" y="2530475"/>
            <a:ext cx="1471612" cy="1471613"/>
          </a:xfrm>
          <a:prstGeom prst="rect">
            <a:avLst/>
          </a:prstGeom>
          <a:noFill/>
          <a:ln w="9525">
            <a:noFill/>
            <a:miter lim="800000"/>
            <a:headEnd/>
            <a:tailEnd/>
          </a:ln>
        </p:spPr>
      </p:pic>
      <p:pic>
        <p:nvPicPr>
          <p:cNvPr id="14343" name="Picture 33" descr="C:\Users\a.tsinontides\AppData\Local\Microsoft\Windows\Temporary Internet Files\Content.IE5\92VXE1S1\adult-meningitis-symptoms[1].jpg"/>
          <p:cNvPicPr>
            <a:picLocks noChangeAspect="1" noChangeArrowheads="1"/>
          </p:cNvPicPr>
          <p:nvPr/>
        </p:nvPicPr>
        <p:blipFill>
          <a:blip r:embed="rId5" cstate="print"/>
          <a:srcRect/>
          <a:stretch>
            <a:fillRect/>
          </a:stretch>
        </p:blipFill>
        <p:spPr bwMode="auto">
          <a:xfrm>
            <a:off x="4329113" y="4683125"/>
            <a:ext cx="1706562" cy="1033463"/>
          </a:xfrm>
          <a:prstGeom prst="rect">
            <a:avLst/>
          </a:prstGeom>
          <a:noFill/>
          <a:ln w="9525">
            <a:noFill/>
            <a:miter lim="800000"/>
            <a:headEnd/>
            <a:tailEnd/>
          </a:ln>
        </p:spPr>
      </p:pic>
      <p:pic>
        <p:nvPicPr>
          <p:cNvPr id="14344" name="Picture 36" descr="C:\Users\a.tsinontides\AppData\Local\Microsoft\Windows\Temporary Internet Files\Content.IE5\BPRX174Z\rx_red_italic_three_dimensional[1].png"/>
          <p:cNvPicPr>
            <a:picLocks noChangeAspect="1" noChangeArrowheads="1"/>
          </p:cNvPicPr>
          <p:nvPr/>
        </p:nvPicPr>
        <p:blipFill>
          <a:blip r:embed="rId6" cstate="print"/>
          <a:srcRect/>
          <a:stretch>
            <a:fillRect/>
          </a:stretch>
        </p:blipFill>
        <p:spPr bwMode="auto">
          <a:xfrm>
            <a:off x="5416823" y="984473"/>
            <a:ext cx="914400" cy="874713"/>
          </a:xfrm>
          <a:prstGeom prst="rect">
            <a:avLst/>
          </a:prstGeom>
          <a:noFill/>
          <a:ln w="9525">
            <a:noFill/>
            <a:miter lim="800000"/>
            <a:headEnd/>
            <a:tailEnd/>
          </a:ln>
        </p:spPr>
      </p:pic>
      <p:pic>
        <p:nvPicPr>
          <p:cNvPr id="14345" name="Picture 39" descr="C:\Users\a.tsinontides\AppData\Local\Microsoft\Windows\Temporary Internet Files\Content.IE5\BPRX174Z\stress test[1].png"/>
          <p:cNvPicPr>
            <a:picLocks noChangeAspect="1" noChangeArrowheads="1"/>
          </p:cNvPicPr>
          <p:nvPr/>
        </p:nvPicPr>
        <p:blipFill>
          <a:blip r:embed="rId7" cstate="print"/>
          <a:srcRect/>
          <a:stretch>
            <a:fillRect/>
          </a:stretch>
        </p:blipFill>
        <p:spPr bwMode="auto">
          <a:xfrm>
            <a:off x="3544615" y="984473"/>
            <a:ext cx="1420813" cy="1384300"/>
          </a:xfrm>
          <a:prstGeom prst="rect">
            <a:avLst/>
          </a:prstGeom>
          <a:noFill/>
          <a:ln w="9525">
            <a:noFill/>
            <a:miter lim="800000"/>
            <a:headEnd/>
            <a:tailEnd/>
          </a:ln>
        </p:spPr>
      </p:pic>
      <p:sp>
        <p:nvSpPr>
          <p:cNvPr id="14346" name="TextBox 46"/>
          <p:cNvSpPr txBox="1">
            <a:spLocks noChangeArrowheads="1"/>
          </p:cNvSpPr>
          <p:nvPr/>
        </p:nvSpPr>
        <p:spPr bwMode="auto">
          <a:xfrm>
            <a:off x="6699250" y="1987550"/>
            <a:ext cx="1487488" cy="585788"/>
          </a:xfrm>
          <a:prstGeom prst="rect">
            <a:avLst/>
          </a:prstGeom>
          <a:noFill/>
          <a:ln w="9525">
            <a:noFill/>
            <a:miter lim="800000"/>
            <a:headEnd/>
            <a:tailEnd/>
          </a:ln>
        </p:spPr>
        <p:txBody>
          <a:bodyPr>
            <a:spAutoFit/>
          </a:bodyPr>
          <a:lstStyle/>
          <a:p>
            <a:r>
              <a:rPr lang="el-GR"/>
              <a:t>Φαρμακευτική Αγωγή</a:t>
            </a:r>
            <a:endParaRPr lang="en-GB"/>
          </a:p>
        </p:txBody>
      </p:sp>
      <p:pic>
        <p:nvPicPr>
          <p:cNvPr id="14347" name="Picture 47" descr="C:\Users\a.tsinontides\AppData\Local\Microsoft\Windows\Temporary Internet Files\Content.IE5\92VXE1S1\Jar-of-pees-2335-large[1].png"/>
          <p:cNvPicPr>
            <a:picLocks noChangeAspect="1" noChangeArrowheads="1"/>
          </p:cNvPicPr>
          <p:nvPr/>
        </p:nvPicPr>
        <p:blipFill>
          <a:blip r:embed="rId8" cstate="print"/>
          <a:srcRect/>
          <a:stretch>
            <a:fillRect/>
          </a:stretch>
        </p:blipFill>
        <p:spPr bwMode="auto">
          <a:xfrm>
            <a:off x="7721600" y="1150938"/>
            <a:ext cx="688975" cy="966787"/>
          </a:xfrm>
          <a:prstGeom prst="rect">
            <a:avLst/>
          </a:prstGeom>
          <a:noFill/>
          <a:ln w="9525">
            <a:noFill/>
            <a:miter lim="800000"/>
            <a:headEnd/>
            <a:tailEnd/>
          </a:ln>
        </p:spPr>
      </p:pic>
      <p:sp>
        <p:nvSpPr>
          <p:cNvPr id="14348" name="TextBox 54"/>
          <p:cNvSpPr txBox="1">
            <a:spLocks noChangeArrowheads="1"/>
          </p:cNvSpPr>
          <p:nvPr/>
        </p:nvSpPr>
        <p:spPr bwMode="auto">
          <a:xfrm>
            <a:off x="1960439" y="1632545"/>
            <a:ext cx="1662113" cy="338138"/>
          </a:xfrm>
          <a:prstGeom prst="rect">
            <a:avLst/>
          </a:prstGeom>
          <a:noFill/>
          <a:ln w="9525">
            <a:noFill/>
            <a:miter lim="800000"/>
            <a:headEnd/>
            <a:tailEnd/>
          </a:ln>
        </p:spPr>
        <p:txBody>
          <a:bodyPr>
            <a:spAutoFit/>
          </a:bodyPr>
          <a:lstStyle/>
          <a:p>
            <a:r>
              <a:rPr lang="el-GR" dirty="0"/>
              <a:t>Δραστηριότητες</a:t>
            </a:r>
            <a:endParaRPr lang="en-GB" dirty="0"/>
          </a:p>
        </p:txBody>
      </p:sp>
      <p:sp>
        <p:nvSpPr>
          <p:cNvPr id="14349" name="TextBox 55"/>
          <p:cNvSpPr txBox="1">
            <a:spLocks noChangeArrowheads="1"/>
          </p:cNvSpPr>
          <p:nvPr/>
        </p:nvSpPr>
        <p:spPr bwMode="auto">
          <a:xfrm>
            <a:off x="4500563" y="5745163"/>
            <a:ext cx="1371600" cy="338137"/>
          </a:xfrm>
          <a:prstGeom prst="rect">
            <a:avLst/>
          </a:prstGeom>
          <a:noFill/>
          <a:ln w="9525">
            <a:noFill/>
            <a:miter lim="800000"/>
            <a:headEnd/>
            <a:tailEnd/>
          </a:ln>
        </p:spPr>
        <p:txBody>
          <a:bodyPr>
            <a:spAutoFit/>
          </a:bodyPr>
          <a:lstStyle/>
          <a:p>
            <a:r>
              <a:rPr lang="el-GR"/>
              <a:t>Διαγνώσεις</a:t>
            </a:r>
            <a:endParaRPr lang="en-GB"/>
          </a:p>
        </p:txBody>
      </p:sp>
      <p:pic>
        <p:nvPicPr>
          <p:cNvPr id="14350" name="Picture 49" descr="C:\Users\a.tsinontides\AppData\Local\Microsoft\Windows\Temporary Internet Files\Content.IE5\UXW521C3\centricityemr_productimage[1].gif"/>
          <p:cNvPicPr>
            <a:picLocks noChangeAspect="1" noChangeArrowheads="1"/>
          </p:cNvPicPr>
          <p:nvPr/>
        </p:nvPicPr>
        <p:blipFill>
          <a:blip r:embed="rId9" cstate="print"/>
          <a:srcRect/>
          <a:stretch>
            <a:fillRect/>
          </a:stretch>
        </p:blipFill>
        <p:spPr bwMode="auto">
          <a:xfrm>
            <a:off x="6151563" y="4319588"/>
            <a:ext cx="2809875" cy="2200275"/>
          </a:xfrm>
          <a:prstGeom prst="rect">
            <a:avLst/>
          </a:prstGeom>
          <a:noFill/>
          <a:ln w="9525">
            <a:noFill/>
            <a:miter lim="800000"/>
            <a:headEnd/>
            <a:tailEnd/>
          </a:ln>
        </p:spPr>
      </p:pic>
      <p:pic>
        <p:nvPicPr>
          <p:cNvPr id="14351" name="Picture 52" descr="C:\Users\a.tsinontides\AppData\Local\Microsoft\Windows\Temporary Internet Files\Content.IE5\UXW521C3\cartoon-man-stuffing-filing-cabinet[1].gif"/>
          <p:cNvPicPr>
            <a:picLocks noChangeAspect="1" noChangeArrowheads="1"/>
          </p:cNvPicPr>
          <p:nvPr/>
        </p:nvPicPr>
        <p:blipFill>
          <a:blip r:embed="rId10" cstate="print"/>
          <a:srcRect/>
          <a:stretch>
            <a:fillRect/>
          </a:stretch>
        </p:blipFill>
        <p:spPr bwMode="auto">
          <a:xfrm>
            <a:off x="696913" y="4922838"/>
            <a:ext cx="1241425" cy="1309687"/>
          </a:xfrm>
          <a:prstGeom prst="rect">
            <a:avLst/>
          </a:prstGeom>
          <a:noFill/>
          <a:ln w="9525">
            <a:noFill/>
            <a:miter lim="800000"/>
            <a:headEnd/>
            <a:tailEnd/>
          </a:ln>
        </p:spPr>
      </p:pic>
      <p:cxnSp>
        <p:nvCxnSpPr>
          <p:cNvPr id="63" name="Straight Connector 62"/>
          <p:cNvCxnSpPr/>
          <p:nvPr/>
        </p:nvCxnSpPr>
        <p:spPr bwMode="auto">
          <a:xfrm flipH="1">
            <a:off x="563563" y="5072063"/>
            <a:ext cx="1222375" cy="1235075"/>
          </a:xfrm>
          <a:prstGeom prst="line">
            <a:avLst/>
          </a:prstGeom>
          <a:ln>
            <a:solidFill>
              <a:srgbClr val="FF0000"/>
            </a:solidFill>
            <a:headEnd type="none" w="med" len="med"/>
            <a:tailEnd type="none" w="med" len="med"/>
          </a:ln>
        </p:spPr>
        <p:style>
          <a:lnRef idx="3">
            <a:schemeClr val="dk1"/>
          </a:lnRef>
          <a:fillRef idx="0">
            <a:schemeClr val="dk1"/>
          </a:fillRef>
          <a:effectRef idx="2">
            <a:schemeClr val="dk1"/>
          </a:effectRef>
          <a:fontRef idx="minor">
            <a:schemeClr val="tx1"/>
          </a:fontRef>
        </p:style>
      </p:cxnSp>
      <p:cxnSp>
        <p:nvCxnSpPr>
          <p:cNvPr id="65" name="Straight Connector 64"/>
          <p:cNvCxnSpPr/>
          <p:nvPr/>
        </p:nvCxnSpPr>
        <p:spPr bwMode="auto">
          <a:xfrm>
            <a:off x="615950" y="5081588"/>
            <a:ext cx="1244600" cy="1160462"/>
          </a:xfrm>
          <a:prstGeom prst="line">
            <a:avLst/>
          </a:prstGeom>
          <a:ln>
            <a:solidFill>
              <a:srgbClr val="FF0000"/>
            </a:solidFill>
            <a:headEnd type="none" w="med" len="med"/>
            <a:tailEnd type="none" w="med" len="med"/>
          </a:ln>
        </p:spPr>
        <p:style>
          <a:lnRef idx="3">
            <a:schemeClr val="dk1"/>
          </a:lnRef>
          <a:fillRef idx="0">
            <a:schemeClr val="dk1"/>
          </a:fillRef>
          <a:effectRef idx="2">
            <a:schemeClr val="dk1"/>
          </a:effectRef>
          <a:fontRef idx="minor">
            <a:schemeClr val="tx1"/>
          </a:fontRef>
        </p:style>
      </p:cxnSp>
      <p:sp>
        <p:nvSpPr>
          <p:cNvPr id="14356" name="TextBox 19"/>
          <p:cNvSpPr txBox="1">
            <a:spLocks noChangeArrowheads="1"/>
          </p:cNvSpPr>
          <p:nvPr/>
        </p:nvSpPr>
        <p:spPr bwMode="auto">
          <a:xfrm>
            <a:off x="4984775" y="2064593"/>
            <a:ext cx="1774825" cy="338137"/>
          </a:xfrm>
          <a:prstGeom prst="rect">
            <a:avLst/>
          </a:prstGeom>
          <a:noFill/>
          <a:ln w="9525">
            <a:noFill/>
            <a:miter lim="800000"/>
            <a:headEnd/>
            <a:tailEnd/>
          </a:ln>
        </p:spPr>
        <p:txBody>
          <a:bodyPr>
            <a:spAutoFit/>
          </a:bodyPr>
          <a:lstStyle/>
          <a:p>
            <a:r>
              <a:rPr lang="el-GR" dirty="0"/>
              <a:t>Συνταγογράφηση</a:t>
            </a:r>
            <a:endParaRPr lang="en-GB" dirty="0"/>
          </a:p>
        </p:txBody>
      </p:sp>
      <p:sp>
        <p:nvSpPr>
          <p:cNvPr id="14357" name="TextBox 20"/>
          <p:cNvSpPr txBox="1">
            <a:spLocks noChangeArrowheads="1"/>
          </p:cNvSpPr>
          <p:nvPr/>
        </p:nvSpPr>
        <p:spPr bwMode="auto">
          <a:xfrm>
            <a:off x="5313363" y="6383338"/>
            <a:ext cx="3203575" cy="338137"/>
          </a:xfrm>
          <a:prstGeom prst="rect">
            <a:avLst/>
          </a:prstGeom>
          <a:noFill/>
          <a:ln w="9525">
            <a:noFill/>
            <a:miter lim="800000"/>
            <a:headEnd/>
            <a:tailEnd/>
          </a:ln>
        </p:spPr>
        <p:txBody>
          <a:bodyPr>
            <a:spAutoFit/>
          </a:bodyPr>
          <a:lstStyle/>
          <a:p>
            <a:r>
              <a:rPr lang="el-GR"/>
              <a:t>Υποβολή Απαιτήσεων</a:t>
            </a:r>
            <a:endParaRPr lang="en-GB"/>
          </a:p>
        </p:txBody>
      </p:sp>
      <p:pic>
        <p:nvPicPr>
          <p:cNvPr id="14358" name="Picture 18" descr="38E350B7"/>
          <p:cNvPicPr>
            <a:picLocks noChangeAspect="1" noChangeArrowheads="1"/>
          </p:cNvPicPr>
          <p:nvPr/>
        </p:nvPicPr>
        <p:blipFill>
          <a:blip r:embed="rId11" cstate="print"/>
          <a:srcRect l="77206" t="2959" r="8124" b="86629"/>
          <a:stretch>
            <a:fillRect/>
          </a:stretch>
        </p:blipFill>
        <p:spPr bwMode="auto">
          <a:xfrm>
            <a:off x="7908925" y="0"/>
            <a:ext cx="1028700" cy="925513"/>
          </a:xfrm>
          <a:prstGeom prst="rect">
            <a:avLst/>
          </a:prstGeom>
          <a:noFill/>
          <a:ln w="9525">
            <a:noFill/>
            <a:miter lim="800000"/>
            <a:headEnd/>
            <a:tailEnd/>
          </a:ln>
        </p:spPr>
      </p:pic>
      <p:grpSp>
        <p:nvGrpSpPr>
          <p:cNvPr id="25" name="Group 21"/>
          <p:cNvGrpSpPr>
            <a:grpSpLocks/>
          </p:cNvGrpSpPr>
          <p:nvPr/>
        </p:nvGrpSpPr>
        <p:grpSpPr bwMode="auto">
          <a:xfrm>
            <a:off x="215459" y="159488"/>
            <a:ext cx="7195436" cy="381600"/>
            <a:chOff x="325124" y="281614"/>
            <a:chExt cx="3838168" cy="940135"/>
          </a:xfrm>
        </p:grpSpPr>
        <p:sp>
          <p:nvSpPr>
            <p:cNvPr id="26" name="Rounded Rectangle 25"/>
            <p:cNvSpPr/>
            <p:nvPr/>
          </p:nvSpPr>
          <p:spPr>
            <a:xfrm>
              <a:off x="325124" y="281614"/>
              <a:ext cx="3838168" cy="940135"/>
            </a:xfrm>
            <a:prstGeom prst="round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27" name="Rounded Rectangle 4"/>
            <p:cNvSpPr/>
            <p:nvPr/>
          </p:nvSpPr>
          <p:spPr>
            <a:xfrm>
              <a:off x="326228" y="425227"/>
              <a:ext cx="3762856" cy="756045"/>
            </a:xfrm>
            <a:prstGeom prst="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defTabSz="1066800">
                <a:lnSpc>
                  <a:spcPct val="90000"/>
                </a:lnSpc>
                <a:defRPr/>
              </a:pPr>
              <a:r>
                <a:rPr lang="el-GR" sz="2000" b="1" dirty="0"/>
                <a:t>Ολοκληρωμένο Σύστημα Πληροφορικής</a:t>
              </a:r>
              <a:endParaRPr lang="en-GB" sz="2000" b="1" dirty="0"/>
            </a:p>
          </p:txBody>
        </p:sp>
      </p:grpSp>
    </p:spTree>
  </p:cSld>
  <p:clrMapOvr>
    <a:masterClrMapping/>
  </p:clrMapOvr>
  <p:transition spd="med">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58" name="Picture 18" descr="38E350B7"/>
          <p:cNvPicPr>
            <a:picLocks noChangeAspect="1" noChangeArrowheads="1"/>
          </p:cNvPicPr>
          <p:nvPr/>
        </p:nvPicPr>
        <p:blipFill>
          <a:blip r:embed="rId2" cstate="print"/>
          <a:srcRect l="77206" t="2959" r="8124" b="86629"/>
          <a:stretch>
            <a:fillRect/>
          </a:stretch>
        </p:blipFill>
        <p:spPr bwMode="auto">
          <a:xfrm>
            <a:off x="7908925" y="0"/>
            <a:ext cx="1028700" cy="925513"/>
          </a:xfrm>
          <a:prstGeom prst="rect">
            <a:avLst/>
          </a:prstGeom>
          <a:noFill/>
          <a:ln w="9525">
            <a:noFill/>
            <a:miter lim="800000"/>
            <a:headEnd/>
            <a:tailEnd/>
          </a:ln>
        </p:spPr>
      </p:pic>
      <p:grpSp>
        <p:nvGrpSpPr>
          <p:cNvPr id="2" name="Group 21"/>
          <p:cNvGrpSpPr>
            <a:grpSpLocks/>
          </p:cNvGrpSpPr>
          <p:nvPr/>
        </p:nvGrpSpPr>
        <p:grpSpPr bwMode="auto">
          <a:xfrm>
            <a:off x="215460" y="85057"/>
            <a:ext cx="6429890" cy="691118"/>
            <a:chOff x="325124" y="281614"/>
            <a:chExt cx="3838168" cy="940135"/>
          </a:xfrm>
        </p:grpSpPr>
        <p:sp>
          <p:nvSpPr>
            <p:cNvPr id="26" name="Rounded Rectangle 25"/>
            <p:cNvSpPr/>
            <p:nvPr/>
          </p:nvSpPr>
          <p:spPr>
            <a:xfrm>
              <a:off x="325124" y="281614"/>
              <a:ext cx="3838168" cy="940135"/>
            </a:xfrm>
            <a:prstGeom prst="round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27" name="Rounded Rectangle 4"/>
            <p:cNvSpPr/>
            <p:nvPr/>
          </p:nvSpPr>
          <p:spPr>
            <a:xfrm>
              <a:off x="338922" y="425227"/>
              <a:ext cx="3762856" cy="756046"/>
            </a:xfrm>
            <a:prstGeom prst="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defTabSz="1066800">
                <a:lnSpc>
                  <a:spcPct val="90000"/>
                </a:lnSpc>
                <a:defRPr/>
              </a:pPr>
              <a:r>
                <a:rPr lang="el-GR" sz="2000" b="1" dirty="0"/>
                <a:t>Σύστημα Πληροφορικής -  Εγγραφή στο ΓεΣΥ</a:t>
              </a:r>
            </a:p>
            <a:p>
              <a:pPr defTabSz="1066800">
                <a:lnSpc>
                  <a:spcPct val="90000"/>
                </a:lnSpc>
                <a:defRPr/>
              </a:pPr>
              <a:r>
                <a:rPr lang="el-GR" sz="2000" b="1" dirty="0"/>
                <a:t>και στον κατάλογο ΠΙ</a:t>
              </a:r>
            </a:p>
            <a:p>
              <a:pPr defTabSz="1066800">
                <a:lnSpc>
                  <a:spcPct val="90000"/>
                </a:lnSpc>
                <a:defRPr/>
              </a:pPr>
              <a:r>
                <a:rPr lang="en-GB" sz="2000" b="1" dirty="0"/>
                <a:t>;</a:t>
              </a:r>
            </a:p>
          </p:txBody>
        </p:sp>
      </p:grpSp>
      <p:graphicFrame>
        <p:nvGraphicFramePr>
          <p:cNvPr id="24" name="Diagram 23"/>
          <p:cNvGraphicFramePr/>
          <p:nvPr/>
        </p:nvGraphicFramePr>
        <p:xfrm>
          <a:off x="393700" y="852791"/>
          <a:ext cx="8049259" cy="586868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spd="med">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Slide Number Placeholder 2"/>
          <p:cNvSpPr>
            <a:spLocks noGrp="1"/>
          </p:cNvSpPr>
          <p:nvPr>
            <p:ph type="sldNum" sz="quarter" idx="10"/>
          </p:nvPr>
        </p:nvSpPr>
        <p:spPr>
          <a:noFill/>
        </p:spPr>
        <p:txBody>
          <a:bodyPr/>
          <a:lstStyle/>
          <a:p>
            <a:fld id="{D36515AB-F1DC-4545-BD85-A72F2CEA7CB7}" type="slidenum">
              <a:rPr lang="en-GB"/>
              <a:pPr/>
              <a:t>26</a:t>
            </a:fld>
            <a:endParaRPr lang="en-GB" dirty="0"/>
          </a:p>
        </p:txBody>
      </p:sp>
      <p:graphicFrame>
        <p:nvGraphicFramePr>
          <p:cNvPr id="4" name="Diagram 3"/>
          <p:cNvGraphicFramePr/>
          <p:nvPr/>
        </p:nvGraphicFramePr>
        <p:xfrm>
          <a:off x="276447" y="377972"/>
          <a:ext cx="8378455" cy="56952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217613" y="1647825"/>
            <a:ext cx="6477000" cy="1839913"/>
          </a:xfrm>
          <a:prstGeom prst="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wrap="none" anchor="ctr"/>
          <a:lstStyle/>
          <a:p>
            <a:pPr algn="ctr">
              <a:defRPr/>
            </a:pPr>
            <a:endParaRPr lang="en-US" sz="1100" b="1" dirty="0">
              <a:solidFill>
                <a:schemeClr val="tx1"/>
              </a:solidFill>
            </a:endParaRPr>
          </a:p>
        </p:txBody>
      </p:sp>
      <p:sp>
        <p:nvSpPr>
          <p:cNvPr id="31747" name="TextBox 3"/>
          <p:cNvSpPr txBox="1">
            <a:spLocks noChangeArrowheads="1"/>
          </p:cNvSpPr>
          <p:nvPr/>
        </p:nvSpPr>
        <p:spPr bwMode="auto">
          <a:xfrm>
            <a:off x="1212850" y="2270125"/>
            <a:ext cx="6473825" cy="506413"/>
          </a:xfrm>
          <a:prstGeom prst="rect">
            <a:avLst/>
          </a:prstGeom>
          <a:noFill/>
          <a:ln w="9525">
            <a:noFill/>
            <a:miter lim="800000"/>
            <a:headEnd/>
            <a:tailEnd/>
          </a:ln>
        </p:spPr>
        <p:txBody>
          <a:bodyPr lIns="89611" tIns="44806" rIns="89611" bIns="44806">
            <a:spAutoFit/>
          </a:bodyPr>
          <a:lstStyle/>
          <a:p>
            <a:pPr algn="ctr"/>
            <a:r>
              <a:rPr lang="el-GR" sz="2700" b="1" dirty="0">
                <a:solidFill>
                  <a:schemeClr val="bg1"/>
                </a:solidFill>
              </a:rPr>
              <a:t>5. Σύνοψη</a:t>
            </a:r>
            <a:endParaRPr lang="en-US" sz="2700" b="1" dirty="0">
              <a:solidFill>
                <a:schemeClr val="bg1"/>
              </a:solidFill>
            </a:endParaRPr>
          </a:p>
        </p:txBody>
      </p:sp>
      <p:sp>
        <p:nvSpPr>
          <p:cNvPr id="24580" name="Slide Number Placeholder 5"/>
          <p:cNvSpPr>
            <a:spLocks noGrp="1"/>
          </p:cNvSpPr>
          <p:nvPr>
            <p:ph type="sldNum" sz="quarter" idx="10"/>
          </p:nvPr>
        </p:nvSpPr>
        <p:spPr>
          <a:xfrm>
            <a:off x="6870700" y="6511925"/>
            <a:ext cx="1866900" cy="169863"/>
          </a:xfrm>
        </p:spPr>
        <p:txBody>
          <a:bodyPr/>
          <a:lstStyle/>
          <a:p>
            <a:pPr>
              <a:defRPr/>
            </a:pPr>
            <a:fld id="{518C096F-732B-48EC-8916-A59CD605ACBA}" type="slidenum">
              <a:rPr lang="en-US" smtClean="0">
                <a:ea typeface="ＭＳ Ｐゴシック" pitchFamily="34" charset="-128"/>
              </a:rPr>
              <a:pPr>
                <a:defRPr/>
              </a:pPr>
              <a:t>27</a:t>
            </a:fld>
            <a:endParaRPr lang="en-US">
              <a:ea typeface="ＭＳ Ｐゴシック" pitchFamily="34" charset="-128"/>
            </a:endParaRPr>
          </a:p>
        </p:txBody>
      </p:sp>
    </p:spTree>
  </p:cSld>
  <p:clrMapOvr>
    <a:masterClrMapping/>
  </p:clrMapOvr>
  <p:transition spd="med">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nvGraphicFramePr>
        <p:xfrm>
          <a:off x="285750" y="965200"/>
          <a:ext cx="8103339" cy="55008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Slide Number Placeholder 6"/>
          <p:cNvSpPr>
            <a:spLocks noGrp="1"/>
          </p:cNvSpPr>
          <p:nvPr>
            <p:ph type="sldNum" sz="quarter" idx="10"/>
          </p:nvPr>
        </p:nvSpPr>
        <p:spPr/>
        <p:txBody>
          <a:bodyPr/>
          <a:lstStyle/>
          <a:p>
            <a:fld id="{954AD9A2-8CAA-4900-AB14-470A4B6363CB}" type="slidenum">
              <a:rPr lang="en-US" smtClean="0"/>
              <a:pPr/>
              <a:t>28</a:t>
            </a:fld>
            <a:endParaRPr lang="en-US" dirty="0"/>
          </a:p>
        </p:txBody>
      </p:sp>
      <p:grpSp>
        <p:nvGrpSpPr>
          <p:cNvPr id="2" name="Group 9"/>
          <p:cNvGrpSpPr/>
          <p:nvPr/>
        </p:nvGrpSpPr>
        <p:grpSpPr>
          <a:xfrm>
            <a:off x="295907" y="170345"/>
            <a:ext cx="6691862" cy="381600"/>
            <a:chOff x="-76200" y="-203200"/>
            <a:chExt cx="6691862" cy="611149"/>
          </a:xfrm>
        </p:grpSpPr>
        <p:sp>
          <p:nvSpPr>
            <p:cNvPr id="11" name="Rounded Rectangle 10"/>
            <p:cNvSpPr/>
            <p:nvPr/>
          </p:nvSpPr>
          <p:spPr>
            <a:xfrm>
              <a:off x="-76200" y="-203200"/>
              <a:ext cx="6689946" cy="611149"/>
            </a:xfrm>
            <a:prstGeom prst="roundRect">
              <a:avLst/>
            </a:prstGeom>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sp>
        <p:sp>
          <p:nvSpPr>
            <p:cNvPr id="12" name="Rounded Rectangle 4"/>
            <p:cNvSpPr/>
            <p:nvPr/>
          </p:nvSpPr>
          <p:spPr>
            <a:xfrm>
              <a:off x="-14616" y="-192416"/>
              <a:ext cx="6630278" cy="551481"/>
            </a:xfrm>
            <a:prstGeom prst="rect">
              <a:avLst/>
            </a:prstGeom>
            <a:ln>
              <a:noFill/>
            </a:ln>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lvl="0" defTabSz="889000">
                <a:lnSpc>
                  <a:spcPct val="90000"/>
                </a:lnSpc>
              </a:pPr>
              <a:r>
                <a:rPr lang="el-GR" sz="2000" b="1" dirty="0"/>
                <a:t>Κομβικά σημεία της εφαρμογής του ΓεΣΥ</a:t>
              </a:r>
              <a:endParaRPr lang="en-GB" sz="2000" b="1" dirty="0"/>
            </a:p>
          </p:txBody>
        </p:sp>
      </p:grpSp>
    </p:spTree>
  </p:cSld>
  <p:clrMapOvr>
    <a:masterClrMapping/>
  </p:clrMapOvr>
  <p:transition spd="med">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216985" y="1648047"/>
            <a:ext cx="6477000" cy="1839432"/>
          </a:xfrm>
          <a:prstGeom prst="rect">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p>
            <a:pPr algn="ctr">
              <a:defRPr/>
            </a:pPr>
            <a:endParaRPr lang="en-US" sz="1100" b="1" dirty="0">
              <a:solidFill>
                <a:schemeClr val="tx1"/>
              </a:solidFill>
            </a:endParaRPr>
          </a:p>
        </p:txBody>
      </p:sp>
      <p:sp>
        <p:nvSpPr>
          <p:cNvPr id="9221" name="TextBox 3"/>
          <p:cNvSpPr txBox="1">
            <a:spLocks noChangeArrowheads="1"/>
          </p:cNvSpPr>
          <p:nvPr/>
        </p:nvSpPr>
        <p:spPr bwMode="auto">
          <a:xfrm>
            <a:off x="1212850" y="2270125"/>
            <a:ext cx="6473825" cy="506413"/>
          </a:xfrm>
          <a:prstGeom prst="rect">
            <a:avLst/>
          </a:prstGeom>
          <a:noFill/>
          <a:ln w="9525">
            <a:noFill/>
            <a:miter lim="800000"/>
            <a:headEnd/>
            <a:tailEnd/>
          </a:ln>
        </p:spPr>
        <p:txBody>
          <a:bodyPr lIns="89611" tIns="44806" rIns="89611" bIns="44806">
            <a:spAutoFit/>
          </a:bodyPr>
          <a:lstStyle/>
          <a:p>
            <a:pPr marL="514350" indent="-514350" algn="ctr">
              <a:buFont typeface="Arial" pitchFamily="34" charset="0"/>
              <a:buAutoNum type="arabicPeriod"/>
            </a:pPr>
            <a:r>
              <a:rPr lang="el-GR" sz="2700" b="1" dirty="0">
                <a:solidFill>
                  <a:schemeClr val="bg1"/>
                </a:solidFill>
              </a:rPr>
              <a:t>Υφιστάμενη Κατάσταση</a:t>
            </a:r>
            <a:endParaRPr lang="en-US" sz="2700" b="1" dirty="0">
              <a:solidFill>
                <a:schemeClr val="bg1"/>
              </a:solidFill>
            </a:endParaRPr>
          </a:p>
        </p:txBody>
      </p:sp>
      <p:sp>
        <p:nvSpPr>
          <p:cNvPr id="6150" name="Slide Number Placeholder 5"/>
          <p:cNvSpPr>
            <a:spLocks noGrp="1"/>
          </p:cNvSpPr>
          <p:nvPr>
            <p:ph type="sldNum" sz="quarter" idx="10"/>
          </p:nvPr>
        </p:nvSpPr>
        <p:spPr>
          <a:xfrm>
            <a:off x="6870700" y="6511925"/>
            <a:ext cx="1866900" cy="169863"/>
          </a:xfrm>
        </p:spPr>
        <p:txBody>
          <a:bodyPr/>
          <a:lstStyle/>
          <a:p>
            <a:pPr>
              <a:defRPr/>
            </a:pPr>
            <a:fld id="{DD86E46E-E6DE-44F6-AB6E-2107578CB25D}" type="slidenum">
              <a:rPr lang="en-US" smtClean="0">
                <a:ea typeface="ＭＳ Ｐゴシック" pitchFamily="34" charset="-128"/>
              </a:rPr>
              <a:pPr>
                <a:defRPr/>
              </a:pPr>
              <a:t>2</a:t>
            </a:fld>
            <a:endParaRPr lang="en-US" dirty="0">
              <a:ea typeface="ＭＳ Ｐゴシック" pitchFamily="34" charset="-128"/>
            </a:endParaRPr>
          </a:p>
        </p:txBody>
      </p:sp>
    </p:spTree>
  </p:cSld>
  <p:clrMapOvr>
    <a:masterClrMapping/>
  </p:clrMapOvr>
  <p:transition spd="med">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Slide Number Placeholder 2"/>
          <p:cNvSpPr>
            <a:spLocks noGrp="1"/>
          </p:cNvSpPr>
          <p:nvPr>
            <p:ph type="sldNum" sz="quarter" idx="10"/>
          </p:nvPr>
        </p:nvSpPr>
        <p:spPr>
          <a:xfrm>
            <a:off x="10315649" y="7320000"/>
            <a:ext cx="1866900" cy="182563"/>
          </a:xfrm>
          <a:noFill/>
        </p:spPr>
        <p:txBody>
          <a:bodyPr/>
          <a:lstStyle/>
          <a:p>
            <a:fld id="{D36515AB-F1DC-4545-BD85-A72F2CEA7CB7}" type="slidenum">
              <a:rPr lang="en-GB"/>
              <a:pPr/>
              <a:t>29</a:t>
            </a:fld>
            <a:endParaRPr lang="en-GB" dirty="0"/>
          </a:p>
        </p:txBody>
      </p:sp>
      <p:sp>
        <p:nvSpPr>
          <p:cNvPr id="12" name="Slide Number Placeholder 2"/>
          <p:cNvSpPr txBox="1">
            <a:spLocks/>
          </p:cNvSpPr>
          <p:nvPr/>
        </p:nvSpPr>
        <p:spPr bwMode="auto">
          <a:xfrm>
            <a:off x="10315649" y="7320000"/>
            <a:ext cx="1866900" cy="18256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36515AB-F1DC-4545-BD85-A72F2CEA7CB7}" type="slidenum">
              <a:rPr kumimoji="0" lang="en-GB" sz="1200" b="0" i="0" u="none" strike="noStrike" kern="1200" cap="none" spc="0" normalizeH="0" baseline="0" noProof="0" smtClean="0">
                <a:ln>
                  <a:noFill/>
                </a:ln>
                <a:solidFill>
                  <a:schemeClr val="tx1"/>
                </a:solidFill>
                <a:effectLst/>
                <a:uLnTx/>
                <a:uFillTx/>
                <a:latin typeface="Arial" charset="0"/>
                <a:ea typeface="ＭＳ Ｐゴシック" pitchFamily="-106"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GB" sz="1200" b="0" i="0" u="none" strike="noStrike" kern="1200" cap="none" spc="0" normalizeH="0" baseline="0" noProof="0" dirty="0">
              <a:ln>
                <a:noFill/>
              </a:ln>
              <a:solidFill>
                <a:schemeClr val="tx1"/>
              </a:solidFill>
              <a:effectLst/>
              <a:uLnTx/>
              <a:uFillTx/>
              <a:latin typeface="Arial" charset="0"/>
              <a:ea typeface="ＭＳ Ｐゴシック" pitchFamily="-106" charset="-128"/>
              <a:cs typeface="+mn-cs"/>
            </a:endParaRPr>
          </a:p>
        </p:txBody>
      </p:sp>
      <p:graphicFrame>
        <p:nvGraphicFramePr>
          <p:cNvPr id="13" name="Diagram 12"/>
          <p:cNvGraphicFramePr/>
          <p:nvPr/>
        </p:nvGraphicFramePr>
        <p:xfrm>
          <a:off x="191386" y="813908"/>
          <a:ext cx="8378455" cy="619294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spd="med">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217613" y="1647825"/>
            <a:ext cx="6477000" cy="1839913"/>
          </a:xfrm>
          <a:prstGeom prst="rect">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wrap="none" anchor="ctr"/>
          <a:lstStyle/>
          <a:p>
            <a:pPr algn="ctr">
              <a:defRPr/>
            </a:pPr>
            <a:endParaRPr lang="en-US" sz="1100" b="1" dirty="0">
              <a:solidFill>
                <a:schemeClr val="tx1"/>
              </a:solidFill>
            </a:endParaRPr>
          </a:p>
        </p:txBody>
      </p:sp>
      <p:sp>
        <p:nvSpPr>
          <p:cNvPr id="33795" name="TextBox 3"/>
          <p:cNvSpPr txBox="1">
            <a:spLocks noChangeArrowheads="1"/>
          </p:cNvSpPr>
          <p:nvPr/>
        </p:nvSpPr>
        <p:spPr bwMode="auto">
          <a:xfrm>
            <a:off x="1212850" y="2270125"/>
            <a:ext cx="6473825" cy="506413"/>
          </a:xfrm>
          <a:prstGeom prst="rect">
            <a:avLst/>
          </a:prstGeom>
          <a:noFill/>
          <a:ln w="9525">
            <a:noFill/>
            <a:miter lim="800000"/>
            <a:headEnd/>
            <a:tailEnd/>
          </a:ln>
        </p:spPr>
        <p:txBody>
          <a:bodyPr lIns="89611" tIns="44806" rIns="89611" bIns="44806">
            <a:spAutoFit/>
          </a:bodyPr>
          <a:lstStyle/>
          <a:p>
            <a:pPr algn="ctr"/>
            <a:r>
              <a:rPr lang="el-GR" sz="2700" b="1" dirty="0">
                <a:solidFill>
                  <a:schemeClr val="bg1"/>
                </a:solidFill>
              </a:rPr>
              <a:t>Ερωτήσεις/Συζήτηση</a:t>
            </a:r>
            <a:endParaRPr lang="en-US" sz="2700" b="1" dirty="0">
              <a:solidFill>
                <a:schemeClr val="bg1"/>
              </a:solidFill>
            </a:endParaRPr>
          </a:p>
        </p:txBody>
      </p:sp>
      <p:sp>
        <p:nvSpPr>
          <p:cNvPr id="24580" name="Slide Number Placeholder 5"/>
          <p:cNvSpPr>
            <a:spLocks noGrp="1"/>
          </p:cNvSpPr>
          <p:nvPr>
            <p:ph type="sldNum" sz="quarter" idx="10"/>
          </p:nvPr>
        </p:nvSpPr>
        <p:spPr>
          <a:xfrm>
            <a:off x="6870700" y="6511925"/>
            <a:ext cx="1866900" cy="169863"/>
          </a:xfrm>
        </p:spPr>
        <p:txBody>
          <a:bodyPr/>
          <a:lstStyle/>
          <a:p>
            <a:pPr>
              <a:defRPr/>
            </a:pPr>
            <a:fld id="{7CB638F9-04ED-4E71-BB57-B6E61CD05F2A}" type="slidenum">
              <a:rPr lang="en-US" smtClean="0">
                <a:ea typeface="ＭＳ Ｐゴシック" pitchFamily="34" charset="-128"/>
              </a:rPr>
              <a:pPr>
                <a:defRPr/>
              </a:pPr>
              <a:t>30</a:t>
            </a:fld>
            <a:endParaRPr lang="en-US">
              <a:ea typeface="ＭＳ Ｐゴシック" pitchFamily="34" charset="-128"/>
            </a:endParaRPr>
          </a:p>
        </p:txBody>
      </p:sp>
    </p:spTree>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5" name="Slide Number Placeholder 5"/>
          <p:cNvSpPr>
            <a:spLocks noGrp="1"/>
          </p:cNvSpPr>
          <p:nvPr>
            <p:ph type="sldNum" sz="quarter" idx="10"/>
          </p:nvPr>
        </p:nvSpPr>
        <p:spPr/>
        <p:txBody>
          <a:bodyPr/>
          <a:lstStyle/>
          <a:p>
            <a:pPr>
              <a:defRPr/>
            </a:pPr>
            <a:fld id="{91492CA1-9A43-4A7A-ABFD-235E39E24F86}" type="slidenum">
              <a:rPr lang="en-GB" smtClean="0">
                <a:ea typeface="ＭＳ Ｐゴシック" pitchFamily="34" charset="-128"/>
              </a:rPr>
              <a:pPr>
                <a:defRPr/>
              </a:pPr>
              <a:t>31</a:t>
            </a:fld>
            <a:endParaRPr lang="en-GB">
              <a:ea typeface="ＭＳ Ｐゴシック" pitchFamily="34" charset="-128"/>
            </a:endParaRPr>
          </a:p>
        </p:txBody>
      </p:sp>
      <p:sp>
        <p:nvSpPr>
          <p:cNvPr id="34824" name="AutoShape 2" descr="Related image"/>
          <p:cNvSpPr>
            <a:spLocks noChangeAspect="1" noChangeArrowheads="1"/>
          </p:cNvSpPr>
          <p:nvPr/>
        </p:nvSpPr>
        <p:spPr bwMode="auto">
          <a:xfrm>
            <a:off x="63500" y="-136525"/>
            <a:ext cx="304800" cy="304800"/>
          </a:xfrm>
          <a:prstGeom prst="rect">
            <a:avLst/>
          </a:prstGeom>
          <a:noFill/>
          <a:ln w="9525">
            <a:noFill/>
            <a:miter lim="800000"/>
            <a:headEnd/>
            <a:tailEnd/>
          </a:ln>
        </p:spPr>
        <p:txBody>
          <a:bodyPr/>
          <a:lstStyle/>
          <a:p>
            <a:endParaRPr lang="el-GR"/>
          </a:p>
        </p:txBody>
      </p:sp>
      <p:sp>
        <p:nvSpPr>
          <p:cNvPr id="8" name="Rounded Rectangle 7"/>
          <p:cNvSpPr/>
          <p:nvPr/>
        </p:nvSpPr>
        <p:spPr>
          <a:xfrm>
            <a:off x="515867" y="978202"/>
            <a:ext cx="8064896" cy="4231758"/>
          </a:xfrm>
          <a:prstGeom prst="roundRect">
            <a:avLst/>
          </a:prstGeom>
          <a:solidFill>
            <a:schemeClr val="accent2">
              <a:tint val="40000"/>
              <a:hueOff val="0"/>
              <a:satOff val="0"/>
              <a:lumOff val="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l-GR" sz="2800" b="1" dirty="0">
                <a:solidFill>
                  <a:schemeClr val="tx2">
                    <a:lumMod val="75000"/>
                  </a:schemeClr>
                </a:solidFill>
              </a:rPr>
              <a:t>Οργανισμός Ασφάλισης Υγείας</a:t>
            </a:r>
          </a:p>
          <a:p>
            <a:r>
              <a:rPr lang="en-US" sz="2400" b="1" dirty="0">
                <a:latin typeface="Calibri" pitchFamily="34" charset="0"/>
                <a:hlinkClick r:id="rId3"/>
              </a:rPr>
              <a:t>www.hio.org.cy</a:t>
            </a:r>
            <a:endParaRPr lang="el-GR" sz="2400" b="1" dirty="0">
              <a:latin typeface="Calibri" pitchFamily="34" charset="0"/>
            </a:endParaRPr>
          </a:p>
          <a:p>
            <a:endParaRPr lang="el-GR" sz="2400" b="1" dirty="0">
              <a:solidFill>
                <a:schemeClr val="tx2">
                  <a:lumMod val="75000"/>
                </a:schemeClr>
              </a:solidFill>
            </a:endParaRPr>
          </a:p>
          <a:p>
            <a:r>
              <a:rPr lang="el-GR" sz="2400" dirty="0" err="1">
                <a:solidFill>
                  <a:schemeClr val="accent6">
                    <a:lumMod val="50000"/>
                  </a:schemeClr>
                </a:solidFill>
              </a:rPr>
              <a:t>Κλήμεντος</a:t>
            </a:r>
            <a:r>
              <a:rPr lang="el-GR" sz="2400" dirty="0">
                <a:solidFill>
                  <a:schemeClr val="accent6">
                    <a:lumMod val="50000"/>
                  </a:schemeClr>
                </a:solidFill>
              </a:rPr>
              <a:t> 17-19, 4ος Όροφος, 1061 Λευκωσία</a:t>
            </a:r>
          </a:p>
          <a:p>
            <a:r>
              <a:rPr lang="el-GR" sz="2400" dirty="0">
                <a:solidFill>
                  <a:schemeClr val="accent6">
                    <a:lumMod val="50000"/>
                  </a:schemeClr>
                </a:solidFill>
              </a:rPr>
              <a:t>Τ.Θ. 26765, 1641 Λευκωσία, Κύπρος</a:t>
            </a:r>
          </a:p>
          <a:p>
            <a:pPr lvl="0"/>
            <a:r>
              <a:rPr lang="el-GR" sz="2400" dirty="0">
                <a:solidFill>
                  <a:schemeClr val="accent6">
                    <a:lumMod val="50000"/>
                  </a:schemeClr>
                </a:solidFill>
              </a:rPr>
              <a:t>Ηλεκτρονική Διεύθυνση</a:t>
            </a:r>
            <a:r>
              <a:rPr lang="en-GB" sz="2400" dirty="0">
                <a:solidFill>
                  <a:schemeClr val="accent6">
                    <a:lumMod val="50000"/>
                  </a:schemeClr>
                </a:solidFill>
              </a:rPr>
              <a:t>:</a:t>
            </a:r>
            <a:r>
              <a:rPr lang="el-GR" sz="2400" dirty="0">
                <a:solidFill>
                  <a:schemeClr val="accent6">
                    <a:lumMod val="50000"/>
                  </a:schemeClr>
                </a:solidFill>
              </a:rPr>
              <a:t> </a:t>
            </a:r>
            <a:r>
              <a:rPr lang="en-GB" sz="2400" dirty="0">
                <a:hlinkClick r:id="rId4"/>
              </a:rPr>
              <a:t>hio@gesy.org.cy</a:t>
            </a:r>
            <a:endParaRPr lang="el-GR" sz="2400" dirty="0"/>
          </a:p>
          <a:p>
            <a:pPr lvl="0"/>
            <a:endParaRPr lang="el-GR" sz="2400" dirty="0">
              <a:solidFill>
                <a:schemeClr val="accent6">
                  <a:lumMod val="50000"/>
                </a:schemeClr>
              </a:solidFill>
            </a:endParaRPr>
          </a:p>
          <a:p>
            <a:r>
              <a:rPr lang="el-GR" sz="2400" dirty="0" err="1">
                <a:solidFill>
                  <a:schemeClr val="accent6">
                    <a:lumMod val="50000"/>
                  </a:schemeClr>
                </a:solidFill>
              </a:rPr>
              <a:t>Τηλ</a:t>
            </a:r>
            <a:r>
              <a:rPr lang="el-GR" sz="2400" dirty="0">
                <a:solidFill>
                  <a:schemeClr val="accent6">
                    <a:lumMod val="50000"/>
                  </a:schemeClr>
                </a:solidFill>
              </a:rPr>
              <a:t>.: +357 22557200</a:t>
            </a:r>
          </a:p>
          <a:p>
            <a:r>
              <a:rPr lang="el-GR" sz="2400" dirty="0">
                <a:solidFill>
                  <a:schemeClr val="accent6">
                    <a:lumMod val="50000"/>
                  </a:schemeClr>
                </a:solidFill>
              </a:rPr>
              <a:t>Φαξ: +357 22875021</a:t>
            </a:r>
          </a:p>
        </p:txBody>
      </p:sp>
    </p:spTree>
  </p:cSld>
  <p:clrMapOvr>
    <a:masterClrMapping/>
  </p:clrMapOvr>
  <p:transition spd="med">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6B3F780C-043F-4991-85A9-23FE7B77269E}" type="slidenum">
              <a:rPr lang="en-GB" smtClean="0"/>
              <a:pPr>
                <a:defRPr/>
              </a:pPr>
              <a:t>3</a:t>
            </a:fld>
            <a:endParaRPr lang="en-GB"/>
          </a:p>
        </p:txBody>
      </p:sp>
      <p:graphicFrame>
        <p:nvGraphicFramePr>
          <p:cNvPr id="5" name="Diagram 4"/>
          <p:cNvGraphicFramePr/>
          <p:nvPr/>
        </p:nvGraphicFramePr>
        <p:xfrm>
          <a:off x="419099" y="969258"/>
          <a:ext cx="8162925" cy="33582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p:cNvGraphicFramePr/>
          <p:nvPr/>
        </p:nvGraphicFramePr>
        <p:xfrm>
          <a:off x="428625" y="4436198"/>
          <a:ext cx="8172450" cy="206937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0" name="Rounded Rectangle 9"/>
          <p:cNvSpPr/>
          <p:nvPr/>
        </p:nvSpPr>
        <p:spPr>
          <a:xfrm>
            <a:off x="344854" y="228416"/>
            <a:ext cx="5522546" cy="425634"/>
          </a:xfrm>
          <a:prstGeom prst="roundRect">
            <a:avLst/>
          </a:prstGeom>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marL="514350" indent="-514350"/>
            <a:r>
              <a:rPr lang="el-GR" sz="2000" b="1" dirty="0">
                <a:solidFill>
                  <a:schemeClr val="bg1"/>
                </a:solidFill>
              </a:rPr>
              <a:t>Υφιστάμενη Κατάσταση</a:t>
            </a:r>
            <a:endParaRPr lang="en-US" sz="2000" b="1" dirty="0">
              <a:solidFill>
                <a:schemeClr val="bg1"/>
              </a:solidFill>
            </a:endParaRPr>
          </a:p>
        </p:txBody>
      </p:sp>
    </p:spTree>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4261" y="839972"/>
            <a:ext cx="8210350" cy="492443"/>
          </a:xfrm>
        </p:spPr>
        <p:txBody>
          <a:bodyPr/>
          <a:lstStyle/>
          <a:p>
            <a:r>
              <a:rPr lang="el-GR" sz="1600" dirty="0"/>
              <a:t>Στην Κύπρο περίπου το 5</a:t>
            </a:r>
            <a:r>
              <a:rPr lang="en-GB" sz="1600" dirty="0"/>
              <a:t>5</a:t>
            </a:r>
            <a:r>
              <a:rPr lang="el-GR" sz="1600" dirty="0"/>
              <a:t>% των συνολικών δαπανών υγείας δαπανάται στον ιδιωτικό τομέα</a:t>
            </a:r>
            <a:endParaRPr lang="en-US" sz="1600" dirty="0"/>
          </a:p>
        </p:txBody>
      </p:sp>
      <p:sp>
        <p:nvSpPr>
          <p:cNvPr id="21" name="Slide Number Placeholder 20"/>
          <p:cNvSpPr>
            <a:spLocks noGrp="1"/>
          </p:cNvSpPr>
          <p:nvPr>
            <p:ph type="sldNum" sz="quarter" idx="10"/>
          </p:nvPr>
        </p:nvSpPr>
        <p:spPr/>
        <p:txBody>
          <a:bodyPr/>
          <a:lstStyle/>
          <a:p>
            <a:fld id="{9E504359-C179-41AE-80E7-6DF2DCE67965}" type="slidenum">
              <a:rPr lang="en-US" smtClean="0"/>
              <a:pPr/>
              <a:t>4</a:t>
            </a:fld>
            <a:endParaRPr lang="en-US" dirty="0"/>
          </a:p>
        </p:txBody>
      </p:sp>
      <p:graphicFrame>
        <p:nvGraphicFramePr>
          <p:cNvPr id="4" name="Chart 3"/>
          <p:cNvGraphicFramePr/>
          <p:nvPr/>
        </p:nvGraphicFramePr>
        <p:xfrm>
          <a:off x="793272" y="1509823"/>
          <a:ext cx="7169944" cy="4595921"/>
        </p:xfrm>
        <a:graphic>
          <a:graphicData uri="http://schemas.openxmlformats.org/drawingml/2006/chart">
            <c:chart xmlns:c="http://schemas.openxmlformats.org/drawingml/2006/chart" xmlns:r="http://schemas.openxmlformats.org/officeDocument/2006/relationships" r:id="rId3"/>
          </a:graphicData>
        </a:graphic>
      </p:graphicFrame>
      <p:sp>
        <p:nvSpPr>
          <p:cNvPr id="10" name="Rounded Rectangular Callout 9"/>
          <p:cNvSpPr/>
          <p:nvPr/>
        </p:nvSpPr>
        <p:spPr bwMode="auto">
          <a:xfrm>
            <a:off x="5615784" y="2717800"/>
            <a:ext cx="2573338" cy="1231900"/>
          </a:xfrm>
          <a:prstGeom prst="wedgeRoundRectCallout">
            <a:avLst>
              <a:gd name="adj1" fmla="val -196820"/>
              <a:gd name="adj2" fmla="val -9861"/>
              <a:gd name="adj3" fmla="val 16667"/>
            </a:avLst>
          </a:prstGeom>
          <a:solidFill>
            <a:schemeClr val="accent6">
              <a:lumMod val="20000"/>
              <a:lumOff val="80000"/>
            </a:schemeClr>
          </a:solidFill>
          <a:ln w="28575" cap="flat" cmpd="sng" algn="ctr">
            <a:solidFill>
              <a:schemeClr val="accent6"/>
            </a:solidFill>
            <a:prstDash val="solid"/>
            <a:round/>
            <a:headEnd type="none" w="med" len="med"/>
            <a:tailEnd type="none" w="med" len="med"/>
          </a:ln>
          <a:effectLst>
            <a:outerShdw blurRad="50800" dist="38100" dir="2700000" algn="tl" rotWithShape="0">
              <a:schemeClr val="accent6">
                <a:lumMod val="75000"/>
                <a:alpha val="40000"/>
              </a:schemeClr>
            </a:outerShdw>
          </a:effectLst>
        </p:spPr>
        <p:txBody>
          <a:bodyPr vert="horz" wrap="none" lIns="91440" tIns="45720" rIns="91440" bIns="45720" numCol="1" rtlCol="0" anchor="ctr" anchorCtr="0" compatLnSpc="1">
            <a:prstTxWarp prst="textNoShape">
              <a:avLst/>
            </a:prstTxWarp>
          </a:bodyPr>
          <a:lstStyle/>
          <a:p>
            <a:pPr algn="ctr"/>
            <a:r>
              <a:rPr lang="el-GR" sz="1400" dirty="0"/>
              <a:t>Ο Κύπριος πολίτης καλύπτει</a:t>
            </a:r>
          </a:p>
          <a:p>
            <a:pPr algn="ctr"/>
            <a:r>
              <a:rPr lang="el-GR" sz="1400" dirty="0"/>
              <a:t>το μεγαλύτερο μέρος της</a:t>
            </a:r>
          </a:p>
          <a:p>
            <a:pPr marL="0" marR="0" indent="0" algn="ctr" defTabSz="914400" rtl="0" eaLnBrk="1" fontAlgn="base" latinLnBrk="0" hangingPunct="1">
              <a:lnSpc>
                <a:spcPct val="100000"/>
              </a:lnSpc>
              <a:spcBef>
                <a:spcPct val="0"/>
              </a:spcBef>
              <a:spcAft>
                <a:spcPct val="0"/>
              </a:spcAft>
              <a:buClrTx/>
              <a:buSzTx/>
              <a:buFontTx/>
              <a:buNone/>
              <a:tabLst/>
            </a:pPr>
            <a:r>
              <a:rPr lang="el-GR" sz="1400" dirty="0"/>
              <a:t> ιδιωτικής δαπάνης</a:t>
            </a:r>
          </a:p>
          <a:p>
            <a:pPr marL="0" marR="0" indent="0" algn="ctr" defTabSz="914400" rtl="0" eaLnBrk="1" fontAlgn="base" latinLnBrk="0" hangingPunct="1">
              <a:lnSpc>
                <a:spcPct val="100000"/>
              </a:lnSpc>
              <a:spcBef>
                <a:spcPct val="0"/>
              </a:spcBef>
              <a:spcAft>
                <a:spcPct val="0"/>
              </a:spcAft>
              <a:buClrTx/>
              <a:buSzTx/>
              <a:buFontTx/>
              <a:buNone/>
              <a:tabLst/>
            </a:pPr>
            <a:r>
              <a:rPr lang="el-GR" sz="1400" b="1" dirty="0"/>
              <a:t>β</a:t>
            </a:r>
            <a:r>
              <a:rPr kumimoji="0" lang="el-GR" sz="1400" b="1" i="0" u="none" strike="noStrike" cap="none" normalizeH="0" baseline="0" dirty="0">
                <a:ln>
                  <a:noFill/>
                </a:ln>
                <a:effectLst/>
                <a:latin typeface="Arial" charset="0"/>
              </a:rPr>
              <a:t>άζοντας</a:t>
            </a:r>
            <a:r>
              <a:rPr kumimoji="0" lang="el-GR" sz="1400" b="1" i="0" u="none" strike="noStrike" cap="none" normalizeH="0" dirty="0">
                <a:ln>
                  <a:noFill/>
                </a:ln>
                <a:effectLst/>
                <a:latin typeface="Arial" charset="0"/>
              </a:rPr>
              <a:t> βαθιά το χέρι </a:t>
            </a:r>
          </a:p>
          <a:p>
            <a:pPr marL="0" marR="0" indent="0" algn="ctr" defTabSz="914400" rtl="0" eaLnBrk="1" fontAlgn="base" latinLnBrk="0" hangingPunct="1">
              <a:lnSpc>
                <a:spcPct val="100000"/>
              </a:lnSpc>
              <a:spcBef>
                <a:spcPct val="0"/>
              </a:spcBef>
              <a:spcAft>
                <a:spcPct val="0"/>
              </a:spcAft>
              <a:buClrTx/>
              <a:buSzTx/>
              <a:buFontTx/>
              <a:buNone/>
              <a:tabLst/>
            </a:pPr>
            <a:r>
              <a:rPr kumimoji="0" lang="el-GR" sz="1400" b="1" i="0" u="none" strike="noStrike" cap="none" normalizeH="0" dirty="0">
                <a:ln>
                  <a:noFill/>
                </a:ln>
                <a:effectLst/>
                <a:latin typeface="Arial" charset="0"/>
              </a:rPr>
              <a:t>στην τσέπη</a:t>
            </a:r>
            <a:endParaRPr kumimoji="0" lang="en-US" sz="1400" b="1" i="0" u="none" strike="noStrike" cap="none" normalizeH="0" baseline="0" dirty="0">
              <a:ln>
                <a:noFill/>
              </a:ln>
              <a:effectLst/>
              <a:latin typeface="Arial" charset="0"/>
            </a:endParaRPr>
          </a:p>
        </p:txBody>
      </p:sp>
      <p:sp>
        <p:nvSpPr>
          <p:cNvPr id="12" name="Rounded Rectangular Callout 11"/>
          <p:cNvSpPr/>
          <p:nvPr/>
        </p:nvSpPr>
        <p:spPr bwMode="auto">
          <a:xfrm>
            <a:off x="5207465" y="1215433"/>
            <a:ext cx="1905000" cy="1285949"/>
          </a:xfrm>
          <a:prstGeom prst="wedgeRoundRectCallout">
            <a:avLst>
              <a:gd name="adj1" fmla="val -246235"/>
              <a:gd name="adj2" fmla="val 60450"/>
              <a:gd name="adj3" fmla="val 16667"/>
            </a:avLst>
          </a:prstGeom>
          <a:solidFill>
            <a:schemeClr val="accent6">
              <a:lumMod val="60000"/>
              <a:lumOff val="40000"/>
            </a:schemeClr>
          </a:solidFill>
          <a:ln w="28575" cap="flat" cmpd="sng" algn="ctr">
            <a:solidFill>
              <a:schemeClr val="accent6">
                <a:lumMod val="50000"/>
              </a:schemeClr>
            </a:solidFill>
            <a:prstDash val="solid"/>
            <a:round/>
            <a:headEnd type="none" w="med" len="med"/>
            <a:tailEnd type="none" w="med" len="med"/>
          </a:ln>
          <a:effectLst>
            <a:outerShdw blurRad="50800" dist="38100" dir="2700000" algn="tl" rotWithShape="0">
              <a:schemeClr val="accent6">
                <a:lumMod val="75000"/>
                <a:alpha val="40000"/>
              </a:schemeClr>
            </a:outerShdw>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l-GR" sz="1400" b="1" i="0" u="none" strike="noStrike" cap="none" normalizeH="0" baseline="0" dirty="0">
                <a:ln>
                  <a:noFill/>
                </a:ln>
                <a:solidFill>
                  <a:schemeClr val="tx2"/>
                </a:solidFill>
                <a:effectLst/>
                <a:latin typeface="Arial" charset="0"/>
              </a:rPr>
              <a:t>Η ιδιωτική δαπάνη,</a:t>
            </a:r>
            <a:r>
              <a:rPr kumimoji="0" lang="el-GR" sz="1400" b="1" i="0" u="none" strike="noStrike" cap="none" normalizeH="0" dirty="0">
                <a:ln>
                  <a:noFill/>
                </a:ln>
                <a:solidFill>
                  <a:schemeClr val="tx2"/>
                </a:solidFill>
                <a:effectLst/>
                <a:latin typeface="Arial" charset="0"/>
              </a:rPr>
              <a:t> </a:t>
            </a:r>
          </a:p>
          <a:p>
            <a:pPr marL="0" marR="0" indent="0" algn="ctr" defTabSz="914400" rtl="0" eaLnBrk="1" fontAlgn="base" latinLnBrk="0" hangingPunct="1">
              <a:lnSpc>
                <a:spcPct val="100000"/>
              </a:lnSpc>
              <a:spcBef>
                <a:spcPct val="0"/>
              </a:spcBef>
              <a:spcAft>
                <a:spcPct val="0"/>
              </a:spcAft>
              <a:buClrTx/>
              <a:buSzTx/>
              <a:buFontTx/>
              <a:buNone/>
              <a:tabLst/>
            </a:pPr>
            <a:r>
              <a:rPr kumimoji="0" lang="el-GR" sz="1400" b="1" i="0" u="none" strike="noStrike" cap="none" normalizeH="0" dirty="0">
                <a:ln>
                  <a:noFill/>
                </a:ln>
                <a:solidFill>
                  <a:schemeClr val="tx2"/>
                </a:solidFill>
                <a:effectLst/>
                <a:latin typeface="Arial" charset="0"/>
              </a:rPr>
              <a:t>είναι 2.5 φορές </a:t>
            </a:r>
          </a:p>
          <a:p>
            <a:pPr marL="0" marR="0" indent="0" algn="ctr" defTabSz="914400" rtl="0" eaLnBrk="1" fontAlgn="base" latinLnBrk="0" hangingPunct="1">
              <a:lnSpc>
                <a:spcPct val="100000"/>
              </a:lnSpc>
              <a:spcBef>
                <a:spcPct val="0"/>
              </a:spcBef>
              <a:spcAft>
                <a:spcPct val="0"/>
              </a:spcAft>
              <a:buClrTx/>
              <a:buSzTx/>
              <a:buFontTx/>
              <a:buNone/>
              <a:tabLst/>
            </a:pPr>
            <a:r>
              <a:rPr kumimoji="0" lang="el-GR" sz="1400" b="1" i="0" u="none" strike="noStrike" cap="none" normalizeH="0" dirty="0">
                <a:ln>
                  <a:noFill/>
                </a:ln>
                <a:solidFill>
                  <a:schemeClr val="tx2"/>
                </a:solidFill>
                <a:effectLst/>
                <a:latin typeface="Arial" charset="0"/>
              </a:rPr>
              <a:t>υψηλότερη </a:t>
            </a:r>
          </a:p>
          <a:p>
            <a:pPr marL="0" marR="0" indent="0" algn="ctr" defTabSz="914400" rtl="0" eaLnBrk="1" fontAlgn="base" latinLnBrk="0" hangingPunct="1">
              <a:lnSpc>
                <a:spcPct val="100000"/>
              </a:lnSpc>
              <a:spcBef>
                <a:spcPct val="0"/>
              </a:spcBef>
              <a:spcAft>
                <a:spcPct val="0"/>
              </a:spcAft>
              <a:buClrTx/>
              <a:buSzTx/>
              <a:buFontTx/>
              <a:buNone/>
              <a:tabLst/>
            </a:pPr>
            <a:r>
              <a:rPr kumimoji="0" lang="el-GR" sz="1400" b="1" i="0" u="none" strike="noStrike" cap="none" normalizeH="0" dirty="0">
                <a:ln>
                  <a:noFill/>
                </a:ln>
                <a:solidFill>
                  <a:schemeClr val="tx2"/>
                </a:solidFill>
                <a:effectLst/>
                <a:latin typeface="Arial" charset="0"/>
              </a:rPr>
              <a:t>από το μέσο </a:t>
            </a:r>
          </a:p>
          <a:p>
            <a:pPr marL="0" marR="0" indent="0" algn="ctr" defTabSz="914400" rtl="0" eaLnBrk="1" fontAlgn="base" latinLnBrk="0" hangingPunct="1">
              <a:lnSpc>
                <a:spcPct val="100000"/>
              </a:lnSpc>
              <a:spcBef>
                <a:spcPct val="0"/>
              </a:spcBef>
              <a:spcAft>
                <a:spcPct val="0"/>
              </a:spcAft>
              <a:buClrTx/>
              <a:buSzTx/>
              <a:buFontTx/>
              <a:buNone/>
              <a:tabLst/>
            </a:pPr>
            <a:r>
              <a:rPr kumimoji="0" lang="el-GR" sz="1400" b="1" i="0" u="none" strike="noStrike" cap="none" normalizeH="0" dirty="0">
                <a:ln>
                  <a:noFill/>
                </a:ln>
                <a:solidFill>
                  <a:schemeClr val="tx2"/>
                </a:solidFill>
                <a:effectLst/>
                <a:latin typeface="Arial" charset="0"/>
              </a:rPr>
              <a:t>όρο της ΕΕ</a:t>
            </a:r>
            <a:endParaRPr kumimoji="0" lang="en-US" sz="1400" b="1" i="0" u="none" strike="noStrike" cap="none" normalizeH="0" baseline="0" dirty="0">
              <a:ln>
                <a:noFill/>
              </a:ln>
              <a:solidFill>
                <a:schemeClr val="tx2"/>
              </a:solidFill>
              <a:effectLst/>
              <a:latin typeface="Arial" charset="0"/>
            </a:endParaRPr>
          </a:p>
        </p:txBody>
      </p:sp>
      <p:pic>
        <p:nvPicPr>
          <p:cNvPr id="13" name="chart"/>
          <p:cNvPicPr>
            <a:picLocks noChangeAspect="1"/>
          </p:cNvPicPr>
          <p:nvPr/>
        </p:nvPicPr>
        <p:blipFill>
          <a:blip r:embed="rId4" cstate="print"/>
          <a:srcRect/>
          <a:stretch>
            <a:fillRect/>
          </a:stretch>
        </p:blipFill>
        <p:spPr bwMode="auto">
          <a:xfrm>
            <a:off x="1168387" y="5836642"/>
            <a:ext cx="590550" cy="314325"/>
          </a:xfrm>
          <a:prstGeom prst="rect">
            <a:avLst/>
          </a:prstGeom>
          <a:noFill/>
          <a:ln w="9525">
            <a:noFill/>
            <a:miter lim="800000"/>
            <a:headEnd/>
            <a:tailEnd/>
          </a:ln>
        </p:spPr>
      </p:pic>
      <p:pic>
        <p:nvPicPr>
          <p:cNvPr id="14" name="chart"/>
          <p:cNvPicPr>
            <a:picLocks noChangeAspect="1"/>
          </p:cNvPicPr>
          <p:nvPr/>
        </p:nvPicPr>
        <p:blipFill>
          <a:blip r:embed="rId5" cstate="print"/>
          <a:srcRect/>
          <a:stretch>
            <a:fillRect/>
          </a:stretch>
        </p:blipFill>
        <p:spPr bwMode="auto">
          <a:xfrm>
            <a:off x="2181212" y="5849342"/>
            <a:ext cx="533400" cy="295275"/>
          </a:xfrm>
          <a:prstGeom prst="rect">
            <a:avLst/>
          </a:prstGeom>
          <a:noFill/>
          <a:ln w="9525">
            <a:noFill/>
            <a:miter lim="800000"/>
            <a:headEnd/>
            <a:tailEnd/>
          </a:ln>
        </p:spPr>
      </p:pic>
      <p:pic>
        <p:nvPicPr>
          <p:cNvPr id="15" name="chart"/>
          <p:cNvPicPr>
            <a:picLocks noChangeAspect="1"/>
          </p:cNvPicPr>
          <p:nvPr/>
        </p:nvPicPr>
        <p:blipFill>
          <a:blip r:embed="rId6" cstate="print"/>
          <a:srcRect/>
          <a:stretch>
            <a:fillRect/>
          </a:stretch>
        </p:blipFill>
        <p:spPr bwMode="auto">
          <a:xfrm>
            <a:off x="3190862" y="5866804"/>
            <a:ext cx="484188" cy="279400"/>
          </a:xfrm>
          <a:prstGeom prst="rect">
            <a:avLst/>
          </a:prstGeom>
          <a:noFill/>
          <a:ln w="9525">
            <a:noFill/>
            <a:miter lim="800000"/>
            <a:headEnd/>
            <a:tailEnd/>
          </a:ln>
        </p:spPr>
      </p:pic>
      <p:pic>
        <p:nvPicPr>
          <p:cNvPr id="16" name="Picture 14" descr="http://europa.eu/about-eu/member-countries/countries/images/france_flag.gif"/>
          <p:cNvPicPr>
            <a:picLocks noChangeAspect="1" noChangeArrowheads="1"/>
          </p:cNvPicPr>
          <p:nvPr/>
        </p:nvPicPr>
        <p:blipFill>
          <a:blip r:embed="rId7" cstate="print"/>
          <a:srcRect/>
          <a:stretch>
            <a:fillRect/>
          </a:stretch>
        </p:blipFill>
        <p:spPr bwMode="auto">
          <a:xfrm>
            <a:off x="4149712" y="5854103"/>
            <a:ext cx="567400" cy="279401"/>
          </a:xfrm>
          <a:prstGeom prst="rect">
            <a:avLst/>
          </a:prstGeom>
          <a:noFill/>
          <a:ln w="9525">
            <a:noFill/>
            <a:miter lim="800000"/>
            <a:headEnd/>
            <a:tailEnd/>
          </a:ln>
        </p:spPr>
      </p:pic>
      <p:pic>
        <p:nvPicPr>
          <p:cNvPr id="18" name="Picture 17" descr="http://europa.eu/about-eu/member-countries/countries/images/netherlands_flag.gif"/>
          <p:cNvPicPr>
            <a:picLocks noChangeAspect="1" noChangeArrowheads="1"/>
          </p:cNvPicPr>
          <p:nvPr/>
        </p:nvPicPr>
        <p:blipFill>
          <a:blip r:embed="rId8" cstate="print"/>
          <a:srcRect/>
          <a:stretch>
            <a:fillRect/>
          </a:stretch>
        </p:blipFill>
        <p:spPr bwMode="auto">
          <a:xfrm>
            <a:off x="5156188" y="5836643"/>
            <a:ext cx="512761" cy="309561"/>
          </a:xfrm>
          <a:prstGeom prst="rect">
            <a:avLst/>
          </a:prstGeom>
          <a:noFill/>
          <a:ln w="9525">
            <a:noFill/>
            <a:miter lim="800000"/>
            <a:headEnd/>
            <a:tailEnd/>
          </a:ln>
        </p:spPr>
      </p:pic>
      <p:pic>
        <p:nvPicPr>
          <p:cNvPr id="19" name="Picture 18" descr="http://europa.eu/about-eu/member-countries/countries/images/unitedkingdom_flag.gif"/>
          <p:cNvPicPr>
            <a:picLocks noChangeAspect="1" noChangeArrowheads="1"/>
          </p:cNvPicPr>
          <p:nvPr/>
        </p:nvPicPr>
        <p:blipFill>
          <a:blip r:embed="rId9" cstate="print"/>
          <a:srcRect/>
          <a:stretch>
            <a:fillRect/>
          </a:stretch>
        </p:blipFill>
        <p:spPr bwMode="auto">
          <a:xfrm flipH="1">
            <a:off x="6187297" y="5862042"/>
            <a:ext cx="497652" cy="284162"/>
          </a:xfrm>
          <a:prstGeom prst="rect">
            <a:avLst/>
          </a:prstGeom>
          <a:noFill/>
          <a:ln w="9525">
            <a:noFill/>
            <a:miter lim="800000"/>
            <a:headEnd/>
            <a:tailEnd/>
          </a:ln>
        </p:spPr>
      </p:pic>
      <p:pic>
        <p:nvPicPr>
          <p:cNvPr id="20" name="Picture 16" descr="http://t0.gstatic.com/images?q=tbn:ANd9GcTp106Tdt5WTculnGCoiQCQsD7P8o9i3GepERq7lZU2X87IgfdLYqGE92Q">
            <a:hlinkClick r:id="rId10"/>
          </p:cNvPr>
          <p:cNvPicPr>
            <a:picLocks noChangeAspect="1" noChangeArrowheads="1"/>
          </p:cNvPicPr>
          <p:nvPr/>
        </p:nvPicPr>
        <p:blipFill>
          <a:blip r:embed="rId11" cstate="print"/>
          <a:srcRect/>
          <a:stretch>
            <a:fillRect/>
          </a:stretch>
        </p:blipFill>
        <p:spPr bwMode="auto">
          <a:xfrm>
            <a:off x="7170724" y="5841404"/>
            <a:ext cx="517525" cy="331788"/>
          </a:xfrm>
          <a:prstGeom prst="rect">
            <a:avLst/>
          </a:prstGeom>
          <a:noFill/>
        </p:spPr>
      </p:pic>
      <p:sp>
        <p:nvSpPr>
          <p:cNvPr id="23" name="TextBox 22"/>
          <p:cNvSpPr txBox="1"/>
          <p:nvPr/>
        </p:nvSpPr>
        <p:spPr>
          <a:xfrm>
            <a:off x="0" y="6190505"/>
            <a:ext cx="8961438" cy="246221"/>
          </a:xfrm>
          <a:prstGeom prst="rect">
            <a:avLst/>
          </a:prstGeom>
          <a:noFill/>
        </p:spPr>
        <p:txBody>
          <a:bodyPr wrap="square" rtlCol="0">
            <a:spAutoFit/>
          </a:bodyPr>
          <a:lstStyle/>
          <a:p>
            <a:r>
              <a:rPr lang="el-GR" sz="1000" b="0" dirty="0"/>
              <a:t>Πηγή: </a:t>
            </a:r>
            <a:r>
              <a:rPr lang="en-GB" sz="1000" b="0" dirty="0"/>
              <a:t>WHO</a:t>
            </a:r>
            <a:r>
              <a:rPr lang="en-US" sz="1000" b="0" dirty="0"/>
              <a:t>, 2014</a:t>
            </a:r>
          </a:p>
        </p:txBody>
      </p:sp>
      <p:cxnSp>
        <p:nvCxnSpPr>
          <p:cNvPr id="28" name="Straight Connector 27"/>
          <p:cNvCxnSpPr>
            <a:endCxn id="33" idx="4"/>
          </p:cNvCxnSpPr>
          <p:nvPr/>
        </p:nvCxnSpPr>
        <p:spPr bwMode="auto">
          <a:xfrm flipH="1">
            <a:off x="938990" y="3051545"/>
            <a:ext cx="719702" cy="5980"/>
          </a:xfrm>
          <a:prstGeom prst="line">
            <a:avLst/>
          </a:prstGeom>
          <a:solidFill>
            <a:schemeClr val="bg1"/>
          </a:solidFill>
          <a:ln w="25400" cap="flat" cmpd="sng" algn="ctr">
            <a:solidFill>
              <a:srgbClr val="FF0000"/>
            </a:solidFill>
            <a:prstDash val="dash"/>
            <a:round/>
            <a:headEnd type="none" w="med" len="med"/>
            <a:tailEnd type="none" w="med" len="med"/>
          </a:ln>
          <a:effectLst/>
        </p:spPr>
      </p:cxnSp>
      <p:cxnSp>
        <p:nvCxnSpPr>
          <p:cNvPr id="29" name="Straight Connector 28"/>
          <p:cNvCxnSpPr>
            <a:endCxn id="33" idx="0"/>
          </p:cNvCxnSpPr>
          <p:nvPr/>
        </p:nvCxnSpPr>
        <p:spPr bwMode="auto">
          <a:xfrm flipH="1">
            <a:off x="938990" y="2667002"/>
            <a:ext cx="504830" cy="14619"/>
          </a:xfrm>
          <a:prstGeom prst="line">
            <a:avLst/>
          </a:prstGeom>
          <a:solidFill>
            <a:schemeClr val="bg1"/>
          </a:solidFill>
          <a:ln w="25400" cap="flat" cmpd="sng" algn="ctr">
            <a:solidFill>
              <a:srgbClr val="FF0000"/>
            </a:solidFill>
            <a:prstDash val="dash"/>
            <a:round/>
            <a:headEnd type="none" w="med" len="med"/>
            <a:tailEnd type="none" w="med" len="med"/>
          </a:ln>
          <a:effectLst/>
        </p:spPr>
      </p:cxnSp>
      <p:sp>
        <p:nvSpPr>
          <p:cNvPr id="33" name="Up-Down Arrow 32"/>
          <p:cNvSpPr/>
          <p:nvPr/>
        </p:nvSpPr>
        <p:spPr bwMode="auto">
          <a:xfrm>
            <a:off x="843740" y="2681621"/>
            <a:ext cx="190499" cy="375904"/>
          </a:xfrm>
          <a:prstGeom prst="upDownArrow">
            <a:avLst/>
          </a:prstGeom>
          <a:solidFill>
            <a:srgbClr val="FF0000"/>
          </a:solidFill>
          <a:ln w="9525"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100" b="1" i="0" u="none" strike="noStrike" cap="none" normalizeH="0" baseline="0" dirty="0">
              <a:ln>
                <a:noFill/>
              </a:ln>
              <a:solidFill>
                <a:schemeClr val="tx1"/>
              </a:solidFill>
              <a:effectLst/>
              <a:latin typeface="Arial" charset="0"/>
            </a:endParaRPr>
          </a:p>
        </p:txBody>
      </p:sp>
      <p:sp>
        <p:nvSpPr>
          <p:cNvPr id="60" name="TextBox 59"/>
          <p:cNvSpPr txBox="1"/>
          <p:nvPr/>
        </p:nvSpPr>
        <p:spPr>
          <a:xfrm>
            <a:off x="-39209" y="2638424"/>
            <a:ext cx="1006771" cy="553998"/>
          </a:xfrm>
          <a:prstGeom prst="rect">
            <a:avLst/>
          </a:prstGeom>
          <a:noFill/>
        </p:spPr>
        <p:txBody>
          <a:bodyPr wrap="square" rtlCol="0">
            <a:spAutoFit/>
          </a:bodyPr>
          <a:lstStyle/>
          <a:p>
            <a:r>
              <a:rPr lang="el-GR" sz="1000" dirty="0"/>
              <a:t>Ασφαλιστικές</a:t>
            </a:r>
          </a:p>
          <a:p>
            <a:r>
              <a:rPr lang="el-GR" sz="1000" dirty="0"/>
              <a:t>           &amp;</a:t>
            </a:r>
          </a:p>
          <a:p>
            <a:r>
              <a:rPr lang="el-GR" sz="1000" dirty="0"/>
              <a:t>Ταμεία Υγείας</a:t>
            </a:r>
            <a:endParaRPr lang="en-US" sz="1000" dirty="0"/>
          </a:p>
        </p:txBody>
      </p:sp>
      <p:sp>
        <p:nvSpPr>
          <p:cNvPr id="25" name="Rounded Rectangle 24"/>
          <p:cNvSpPr/>
          <p:nvPr/>
        </p:nvSpPr>
        <p:spPr>
          <a:xfrm>
            <a:off x="344854" y="228416"/>
            <a:ext cx="5522546" cy="425634"/>
          </a:xfrm>
          <a:prstGeom prst="roundRect">
            <a:avLst/>
          </a:prstGeom>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r>
              <a:rPr lang="el-GR" sz="2000" b="1" dirty="0">
                <a:solidFill>
                  <a:schemeClr val="bg1"/>
                </a:solidFill>
              </a:rPr>
              <a:t>Υφιστάμενη Κατάσταση</a:t>
            </a:r>
            <a:endParaRPr lang="en-US" sz="2000" b="1" dirty="0">
              <a:solidFill>
                <a:schemeClr val="bg1"/>
              </a:solidFill>
            </a:endParaRPr>
          </a:p>
          <a:p>
            <a:r>
              <a:rPr lang="el-GR" sz="2000" b="1" dirty="0"/>
              <a:t>ας Σήμερα</a:t>
            </a:r>
          </a:p>
        </p:txBody>
      </p:sp>
    </p:spTree>
  </p:cSld>
  <p:clrMapOvr>
    <a:masterClrMapping/>
  </p:clrMapOvr>
  <p:transition spd="med">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6B3F780C-043F-4991-85A9-23FE7B77269E}" type="slidenum">
              <a:rPr lang="en-GB" smtClean="0"/>
              <a:pPr>
                <a:defRPr/>
              </a:pPr>
              <a:t>5</a:t>
            </a:fld>
            <a:endParaRPr lang="en-GB"/>
          </a:p>
        </p:txBody>
      </p:sp>
      <p:pic>
        <p:nvPicPr>
          <p:cNvPr id="179201" name="Picture 1"/>
          <p:cNvPicPr>
            <a:picLocks noChangeAspect="1" noChangeArrowheads="1"/>
          </p:cNvPicPr>
          <p:nvPr/>
        </p:nvPicPr>
        <p:blipFill>
          <a:blip r:embed="rId2" cstate="print"/>
          <a:srcRect/>
          <a:stretch>
            <a:fillRect/>
          </a:stretch>
        </p:blipFill>
        <p:spPr bwMode="auto">
          <a:xfrm>
            <a:off x="525096" y="619125"/>
            <a:ext cx="7153659" cy="5235575"/>
          </a:xfrm>
          <a:prstGeom prst="rect">
            <a:avLst/>
          </a:prstGeom>
          <a:noFill/>
          <a:ln w="9525">
            <a:noFill/>
            <a:miter lim="800000"/>
            <a:headEnd/>
            <a:tailEnd/>
          </a:ln>
          <a:effectLst/>
        </p:spPr>
      </p:pic>
      <p:sp>
        <p:nvSpPr>
          <p:cNvPr id="7" name="Rectangle 6"/>
          <p:cNvSpPr/>
          <p:nvPr/>
        </p:nvSpPr>
        <p:spPr bwMode="auto">
          <a:xfrm>
            <a:off x="942975" y="857250"/>
            <a:ext cx="2676525" cy="34290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91430" tIns="45715" rIns="91430" bIns="45715" numCol="1" rtlCol="0" anchor="ctr" anchorCtr="0" compatLnSpc="1">
            <a:prstTxWarp prst="textNoShape">
              <a:avLst/>
            </a:prstTxWarp>
          </a:bodyPr>
          <a:lstStyle/>
          <a:p>
            <a:pPr marL="0" marR="0" indent="0" algn="ctr" defTabSz="895350" rtl="0" eaLnBrk="1" fontAlgn="base" latinLnBrk="0" hangingPunct="1">
              <a:lnSpc>
                <a:spcPct val="100000"/>
              </a:lnSpc>
              <a:spcBef>
                <a:spcPct val="0"/>
              </a:spcBef>
              <a:spcAft>
                <a:spcPct val="0"/>
              </a:spcAft>
              <a:buClrTx/>
              <a:buSzTx/>
              <a:buFontTx/>
              <a:buNone/>
              <a:tabLst/>
            </a:pPr>
            <a:endParaRPr kumimoji="0" lang="el-GR" sz="1600" b="0" i="0" u="none" strike="noStrike" cap="none" normalizeH="0" baseline="0" dirty="0">
              <a:ln>
                <a:noFill/>
              </a:ln>
              <a:solidFill>
                <a:schemeClr val="bg1"/>
              </a:solidFill>
              <a:effectLst/>
              <a:latin typeface="Arial" charset="0"/>
            </a:endParaRPr>
          </a:p>
        </p:txBody>
      </p:sp>
      <p:sp>
        <p:nvSpPr>
          <p:cNvPr id="8" name="Rounded Rectangle 7"/>
          <p:cNvSpPr/>
          <p:nvPr/>
        </p:nvSpPr>
        <p:spPr>
          <a:xfrm>
            <a:off x="344854" y="228416"/>
            <a:ext cx="5522546" cy="425634"/>
          </a:xfrm>
          <a:prstGeom prst="roundRect">
            <a:avLst/>
          </a:prstGeom>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pPr marL="514350" indent="-514350"/>
            <a:r>
              <a:rPr lang="el-GR" sz="2000" b="1" dirty="0">
                <a:solidFill>
                  <a:schemeClr val="bg1"/>
                </a:solidFill>
              </a:rPr>
              <a:t>Υφιστάμενη Κατάσταση</a:t>
            </a:r>
            <a:endParaRPr lang="en-US" sz="2000" b="1" dirty="0">
              <a:solidFill>
                <a:schemeClr val="bg1"/>
              </a:solidFill>
            </a:endParaRPr>
          </a:p>
        </p:txBody>
      </p:sp>
    </p:spTree>
  </p:cSld>
  <p:clrMapOvr>
    <a:masterClrMapping/>
  </p:clrMapOvr>
  <p:transition spd="med">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1216985" y="1648047"/>
            <a:ext cx="6477000" cy="1839432"/>
          </a:xfrm>
          <a:prstGeom prst="rect">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wrap="none" anchor="ctr"/>
          <a:lstStyle/>
          <a:p>
            <a:pPr algn="ctr">
              <a:defRPr/>
            </a:pPr>
            <a:endParaRPr lang="en-US" sz="1100" b="1" dirty="0">
              <a:solidFill>
                <a:schemeClr val="tx1"/>
              </a:solidFill>
            </a:endParaRPr>
          </a:p>
        </p:txBody>
      </p:sp>
      <p:sp>
        <p:nvSpPr>
          <p:cNvPr id="13317" name="TextBox 3"/>
          <p:cNvSpPr txBox="1">
            <a:spLocks noChangeArrowheads="1"/>
          </p:cNvSpPr>
          <p:nvPr/>
        </p:nvSpPr>
        <p:spPr bwMode="auto">
          <a:xfrm>
            <a:off x="1212850" y="2259492"/>
            <a:ext cx="6473825" cy="505985"/>
          </a:xfrm>
          <a:prstGeom prst="rect">
            <a:avLst/>
          </a:prstGeom>
          <a:noFill/>
          <a:ln w="9525">
            <a:noFill/>
            <a:miter lim="800000"/>
            <a:headEnd/>
            <a:tailEnd/>
          </a:ln>
        </p:spPr>
        <p:txBody>
          <a:bodyPr lIns="89611" tIns="44806" rIns="89611" bIns="44806">
            <a:spAutoFit/>
          </a:bodyPr>
          <a:lstStyle/>
          <a:p>
            <a:pPr marL="514350" indent="-514350" algn="ctr"/>
            <a:r>
              <a:rPr lang="el-GR" sz="2700" b="1" dirty="0">
                <a:solidFill>
                  <a:schemeClr val="bg1"/>
                </a:solidFill>
              </a:rPr>
              <a:t>2. Κύρια Χαρακτηριστικά του ΓεΣΥ</a:t>
            </a:r>
            <a:endParaRPr lang="en-US" sz="2700" b="1" dirty="0">
              <a:solidFill>
                <a:schemeClr val="bg1"/>
              </a:solidFill>
            </a:endParaRPr>
          </a:p>
        </p:txBody>
      </p:sp>
      <p:sp>
        <p:nvSpPr>
          <p:cNvPr id="6150" name="Slide Number Placeholder 5"/>
          <p:cNvSpPr>
            <a:spLocks noGrp="1"/>
          </p:cNvSpPr>
          <p:nvPr>
            <p:ph type="sldNum" sz="quarter" idx="10"/>
          </p:nvPr>
        </p:nvSpPr>
        <p:spPr>
          <a:xfrm>
            <a:off x="6870700" y="6511925"/>
            <a:ext cx="1866900" cy="169863"/>
          </a:xfrm>
        </p:spPr>
        <p:txBody>
          <a:bodyPr/>
          <a:lstStyle/>
          <a:p>
            <a:pPr>
              <a:defRPr/>
            </a:pPr>
            <a:fld id="{156633A8-63EB-4A1B-8FCF-A99FC5AC8F5F}" type="slidenum">
              <a:rPr lang="en-US" smtClean="0">
                <a:ea typeface="ＭＳ Ｐゴシック" pitchFamily="34" charset="-128"/>
              </a:rPr>
              <a:pPr>
                <a:defRPr/>
              </a:pPr>
              <a:t>6</a:t>
            </a:fld>
            <a:endParaRPr lang="en-US" dirty="0">
              <a:ea typeface="ＭＳ Ｐゴシック" pitchFamily="34" charset="-128"/>
            </a:endParaRPr>
          </a:p>
        </p:txBody>
      </p:sp>
    </p:spTree>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 7"/>
          <p:cNvGraphicFramePr/>
          <p:nvPr/>
        </p:nvGraphicFramePr>
        <p:xfrm>
          <a:off x="381001" y="648585"/>
          <a:ext cx="7880516" cy="592403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Slide Number Placeholder 8"/>
          <p:cNvSpPr>
            <a:spLocks noGrp="1"/>
          </p:cNvSpPr>
          <p:nvPr>
            <p:ph type="sldNum" sz="quarter" idx="10"/>
          </p:nvPr>
        </p:nvSpPr>
        <p:spPr/>
        <p:txBody>
          <a:bodyPr/>
          <a:lstStyle/>
          <a:p>
            <a:fld id="{9E504359-C179-41AE-80E7-6DF2DCE67965}" type="slidenum">
              <a:rPr lang="en-US" smtClean="0"/>
              <a:pPr/>
              <a:t>7</a:t>
            </a:fld>
            <a:endParaRPr lang="en-US" dirty="0"/>
          </a:p>
        </p:txBody>
      </p:sp>
      <p:sp>
        <p:nvSpPr>
          <p:cNvPr id="11" name="Rounded Rectangle 10"/>
          <p:cNvSpPr/>
          <p:nvPr/>
        </p:nvSpPr>
        <p:spPr>
          <a:xfrm>
            <a:off x="370944" y="177800"/>
            <a:ext cx="5219700" cy="381000"/>
          </a:xfrm>
          <a:prstGeom prst="roundRect">
            <a:avLst/>
          </a:prstGeom>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r>
              <a:rPr lang="el-GR" sz="2000" b="1" dirty="0"/>
              <a:t>Ιστορικό</a:t>
            </a:r>
          </a:p>
        </p:txBody>
      </p:sp>
    </p:spTree>
  </p:cSld>
  <p:clrMapOvr>
    <a:masterClrMapping/>
  </p:clrMapOvr>
  <p:transition spd="med">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2268417" y="4447067"/>
            <a:ext cx="6226987" cy="1751714"/>
          </a:xfrm>
          <a:prstGeom prst="rect">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vert="horz" wrap="none" lIns="91430" tIns="45715" rIns="91430" bIns="45715" numCol="1" rtlCol="0" anchor="ctr" anchorCtr="0" compatLnSpc="1">
            <a:prstTxWarp prst="textNoShape">
              <a:avLst/>
            </a:prstTxWarp>
          </a:bodyPr>
          <a:lstStyle/>
          <a:p>
            <a:pPr marL="0" marR="0" indent="0" algn="ctr" defTabSz="895350" rtl="0" eaLnBrk="1" fontAlgn="base" latinLnBrk="0" hangingPunct="1">
              <a:lnSpc>
                <a:spcPct val="100000"/>
              </a:lnSpc>
              <a:spcBef>
                <a:spcPct val="0"/>
              </a:spcBef>
              <a:spcAft>
                <a:spcPct val="0"/>
              </a:spcAft>
              <a:buClrTx/>
              <a:buSzTx/>
              <a:buFontTx/>
              <a:buNone/>
              <a:tabLst/>
            </a:pPr>
            <a:endParaRPr kumimoji="0" lang="el-GR" sz="1600" b="0" i="0" u="none" strike="noStrike" cap="none" normalizeH="0" baseline="0" dirty="0">
              <a:ln>
                <a:noFill/>
              </a:ln>
              <a:solidFill>
                <a:schemeClr val="tx1"/>
              </a:solidFill>
              <a:effectLst/>
              <a:latin typeface="Arial" charset="0"/>
            </a:endParaRPr>
          </a:p>
        </p:txBody>
      </p:sp>
      <p:sp>
        <p:nvSpPr>
          <p:cNvPr id="9" name="Rectangle 8"/>
          <p:cNvSpPr/>
          <p:nvPr/>
        </p:nvSpPr>
        <p:spPr bwMode="auto">
          <a:xfrm>
            <a:off x="2270485" y="1605368"/>
            <a:ext cx="6224919" cy="1860845"/>
          </a:xfrm>
          <a:prstGeom prst="rect">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vert="horz" wrap="none" lIns="91430" tIns="45715" rIns="91430" bIns="45715" numCol="1" rtlCol="0" anchor="ctr" anchorCtr="0" compatLnSpc="1">
            <a:prstTxWarp prst="textNoShape">
              <a:avLst/>
            </a:prstTxWarp>
          </a:bodyPr>
          <a:lstStyle/>
          <a:p>
            <a:pPr marL="0" marR="0" indent="0" algn="ctr" defTabSz="895350" rtl="0" eaLnBrk="1" fontAlgn="base" latinLnBrk="0" hangingPunct="1">
              <a:lnSpc>
                <a:spcPct val="100000"/>
              </a:lnSpc>
              <a:spcBef>
                <a:spcPct val="0"/>
              </a:spcBef>
              <a:spcAft>
                <a:spcPct val="0"/>
              </a:spcAft>
              <a:buClrTx/>
              <a:buSzTx/>
              <a:buFontTx/>
              <a:buNone/>
              <a:tabLst/>
            </a:pPr>
            <a:endParaRPr kumimoji="0" lang="el-GR" sz="1600" b="0" i="0" u="none" strike="noStrike" cap="none" normalizeH="0" baseline="0" dirty="0">
              <a:ln>
                <a:noFill/>
              </a:ln>
              <a:solidFill>
                <a:schemeClr val="tx1"/>
              </a:solidFill>
              <a:effectLst/>
              <a:latin typeface="Arial" charset="0"/>
            </a:endParaRPr>
          </a:p>
        </p:txBody>
      </p:sp>
      <p:sp>
        <p:nvSpPr>
          <p:cNvPr id="23555" name="Slide Number Placeholder 2"/>
          <p:cNvSpPr>
            <a:spLocks noGrp="1"/>
          </p:cNvSpPr>
          <p:nvPr>
            <p:ph type="sldNum" sz="quarter" idx="10"/>
          </p:nvPr>
        </p:nvSpPr>
        <p:spPr>
          <a:xfrm>
            <a:off x="6658040" y="6511925"/>
            <a:ext cx="1866900" cy="182563"/>
          </a:xfrm>
        </p:spPr>
        <p:txBody>
          <a:bodyPr/>
          <a:lstStyle/>
          <a:p>
            <a:pPr>
              <a:defRPr/>
            </a:pPr>
            <a:fld id="{57D0DACA-8433-4D9E-AF3A-DA47CECBC961}" type="slidenum">
              <a:rPr lang="en-GB" smtClean="0">
                <a:ea typeface="ＭＳ Ｐゴシック" pitchFamily="34" charset="-128"/>
              </a:rPr>
              <a:pPr>
                <a:defRPr/>
              </a:pPr>
              <a:t>8</a:t>
            </a:fld>
            <a:endParaRPr lang="en-GB" dirty="0">
              <a:ea typeface="ＭＳ Ｐゴシック" pitchFamily="34" charset="-128"/>
            </a:endParaRPr>
          </a:p>
        </p:txBody>
      </p:sp>
      <p:grpSp>
        <p:nvGrpSpPr>
          <p:cNvPr id="13" name="Group 12"/>
          <p:cNvGrpSpPr/>
          <p:nvPr/>
        </p:nvGrpSpPr>
        <p:grpSpPr>
          <a:xfrm>
            <a:off x="328114" y="1174768"/>
            <a:ext cx="8124763" cy="3769375"/>
            <a:chOff x="466343" y="1174768"/>
            <a:chExt cx="8124763" cy="3769375"/>
          </a:xfrm>
        </p:grpSpPr>
        <p:sp>
          <p:nvSpPr>
            <p:cNvPr id="14" name="Freeform 13"/>
            <p:cNvSpPr/>
            <p:nvPr/>
          </p:nvSpPr>
          <p:spPr>
            <a:xfrm>
              <a:off x="478002" y="1174768"/>
              <a:ext cx="2254540" cy="1216800"/>
            </a:xfrm>
            <a:custGeom>
              <a:avLst/>
              <a:gdLst>
                <a:gd name="connsiteX0" fmla="*/ 0 w 2254540"/>
                <a:gd name="connsiteY0" fmla="*/ 202804 h 1216800"/>
                <a:gd name="connsiteX1" fmla="*/ 59400 w 2254540"/>
                <a:gd name="connsiteY1" fmla="*/ 59400 h 1216800"/>
                <a:gd name="connsiteX2" fmla="*/ 202804 w 2254540"/>
                <a:gd name="connsiteY2" fmla="*/ 0 h 1216800"/>
                <a:gd name="connsiteX3" fmla="*/ 2051736 w 2254540"/>
                <a:gd name="connsiteY3" fmla="*/ 0 h 1216800"/>
                <a:gd name="connsiteX4" fmla="*/ 2195140 w 2254540"/>
                <a:gd name="connsiteY4" fmla="*/ 59400 h 1216800"/>
                <a:gd name="connsiteX5" fmla="*/ 2254540 w 2254540"/>
                <a:gd name="connsiteY5" fmla="*/ 202804 h 1216800"/>
                <a:gd name="connsiteX6" fmla="*/ 2254540 w 2254540"/>
                <a:gd name="connsiteY6" fmla="*/ 1013996 h 1216800"/>
                <a:gd name="connsiteX7" fmla="*/ 2195140 w 2254540"/>
                <a:gd name="connsiteY7" fmla="*/ 1157400 h 1216800"/>
                <a:gd name="connsiteX8" fmla="*/ 2051736 w 2254540"/>
                <a:gd name="connsiteY8" fmla="*/ 1216800 h 1216800"/>
                <a:gd name="connsiteX9" fmla="*/ 202804 w 2254540"/>
                <a:gd name="connsiteY9" fmla="*/ 1216800 h 1216800"/>
                <a:gd name="connsiteX10" fmla="*/ 59400 w 2254540"/>
                <a:gd name="connsiteY10" fmla="*/ 1157400 h 1216800"/>
                <a:gd name="connsiteX11" fmla="*/ 0 w 2254540"/>
                <a:gd name="connsiteY11" fmla="*/ 1013996 h 1216800"/>
                <a:gd name="connsiteX12" fmla="*/ 0 w 2254540"/>
                <a:gd name="connsiteY12" fmla="*/ 202804 h 121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54540" h="1216800">
                  <a:moveTo>
                    <a:pt x="0" y="202804"/>
                  </a:moveTo>
                  <a:cubicBezTo>
                    <a:pt x="0" y="149017"/>
                    <a:pt x="21367" y="97433"/>
                    <a:pt x="59400" y="59400"/>
                  </a:cubicBezTo>
                  <a:cubicBezTo>
                    <a:pt x="97433" y="21367"/>
                    <a:pt x="149017" y="0"/>
                    <a:pt x="202804" y="0"/>
                  </a:cubicBezTo>
                  <a:lnTo>
                    <a:pt x="2051736" y="0"/>
                  </a:lnTo>
                  <a:cubicBezTo>
                    <a:pt x="2105523" y="0"/>
                    <a:pt x="2157107" y="21367"/>
                    <a:pt x="2195140" y="59400"/>
                  </a:cubicBezTo>
                  <a:cubicBezTo>
                    <a:pt x="2233173" y="97433"/>
                    <a:pt x="2254540" y="149017"/>
                    <a:pt x="2254540" y="202804"/>
                  </a:cubicBezTo>
                  <a:lnTo>
                    <a:pt x="2254540" y="1013996"/>
                  </a:lnTo>
                  <a:cubicBezTo>
                    <a:pt x="2254540" y="1067783"/>
                    <a:pt x="2233173" y="1119367"/>
                    <a:pt x="2195140" y="1157400"/>
                  </a:cubicBezTo>
                  <a:cubicBezTo>
                    <a:pt x="2157107" y="1195433"/>
                    <a:pt x="2105523" y="1216800"/>
                    <a:pt x="2051736" y="1216800"/>
                  </a:cubicBezTo>
                  <a:lnTo>
                    <a:pt x="202804" y="1216800"/>
                  </a:lnTo>
                  <a:cubicBezTo>
                    <a:pt x="149017" y="1216800"/>
                    <a:pt x="97433" y="1195433"/>
                    <a:pt x="59400" y="1157400"/>
                  </a:cubicBezTo>
                  <a:cubicBezTo>
                    <a:pt x="21367" y="1119367"/>
                    <a:pt x="0" y="1067783"/>
                    <a:pt x="0" y="1013996"/>
                  </a:cubicBezTo>
                  <a:lnTo>
                    <a:pt x="0" y="202804"/>
                  </a:lnTo>
                  <a:close/>
                </a:path>
              </a:pathLst>
            </a:custGeom>
            <a:solidFill>
              <a:schemeClr val="bg1"/>
            </a:solidFill>
          </p:spPr>
          <p:style>
            <a:lnRef idx="2">
              <a:schemeClr val="accent2">
                <a:shade val="50000"/>
              </a:schemeClr>
            </a:lnRef>
            <a:fillRef idx="1">
              <a:schemeClr val="accent2"/>
            </a:fillRef>
            <a:effectRef idx="0">
              <a:schemeClr val="accent2"/>
            </a:effectRef>
            <a:fontRef idx="minor">
              <a:schemeClr val="dk1">
                <a:hueOff val="0"/>
                <a:satOff val="0"/>
                <a:lumOff val="0"/>
                <a:alphaOff val="0"/>
              </a:schemeClr>
            </a:fontRef>
          </p:style>
          <p:txBody>
            <a:bodyPr spcFirstLastPara="0" vert="horz" wrap="square" lIns="112739" tIns="112739" rIns="112739" bIns="112739" numCol="1" spcCol="1270" anchor="ctr" anchorCtr="0">
              <a:noAutofit/>
            </a:bodyPr>
            <a:lstStyle/>
            <a:p>
              <a:pPr lvl="0" algn="ctr" defTabSz="622300">
                <a:lnSpc>
                  <a:spcPct val="90000"/>
                </a:lnSpc>
                <a:spcBef>
                  <a:spcPct val="0"/>
                </a:spcBef>
                <a:spcAft>
                  <a:spcPct val="35000"/>
                </a:spcAft>
              </a:pPr>
              <a:r>
                <a:rPr lang="el-GR" sz="2000" b="1" kern="1200" dirty="0"/>
                <a:t>Ιούνιος 2019</a:t>
              </a:r>
            </a:p>
            <a:p>
              <a:pPr lvl="0" algn="ctr" defTabSz="622300">
                <a:lnSpc>
                  <a:spcPct val="90000"/>
                </a:lnSpc>
                <a:spcBef>
                  <a:spcPct val="0"/>
                </a:spcBef>
                <a:spcAft>
                  <a:spcPct val="35000"/>
                </a:spcAft>
              </a:pPr>
              <a:r>
                <a:rPr lang="el-GR" sz="2000" b="1" kern="1200" dirty="0"/>
                <a:t>1</a:t>
              </a:r>
              <a:r>
                <a:rPr lang="el-GR" sz="2000" b="1" kern="1200" baseline="30000" dirty="0"/>
                <a:t>η</a:t>
              </a:r>
              <a:r>
                <a:rPr lang="el-GR" sz="2000" b="1" kern="1200" dirty="0"/>
                <a:t> Φάση</a:t>
              </a:r>
              <a:endParaRPr lang="en-GB" sz="2000" kern="1200" dirty="0"/>
            </a:p>
          </p:txBody>
        </p:sp>
        <p:sp>
          <p:nvSpPr>
            <p:cNvPr id="15" name="Freeform 14"/>
            <p:cNvSpPr/>
            <p:nvPr/>
          </p:nvSpPr>
          <p:spPr>
            <a:xfrm>
              <a:off x="466343" y="3172206"/>
              <a:ext cx="8124763" cy="1076400"/>
            </a:xfrm>
            <a:custGeom>
              <a:avLst/>
              <a:gdLst>
                <a:gd name="connsiteX0" fmla="*/ 0 w 8124763"/>
                <a:gd name="connsiteY0" fmla="*/ 0 h 1076400"/>
                <a:gd name="connsiteX1" fmla="*/ 8124763 w 8124763"/>
                <a:gd name="connsiteY1" fmla="*/ 0 h 1076400"/>
                <a:gd name="connsiteX2" fmla="*/ 8124763 w 8124763"/>
                <a:gd name="connsiteY2" fmla="*/ 1076400 h 1076400"/>
                <a:gd name="connsiteX3" fmla="*/ 0 w 8124763"/>
                <a:gd name="connsiteY3" fmla="*/ 1076400 h 1076400"/>
                <a:gd name="connsiteX4" fmla="*/ 0 w 8124763"/>
                <a:gd name="connsiteY4" fmla="*/ 0 h 1076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4763" h="1076400">
                  <a:moveTo>
                    <a:pt x="0" y="0"/>
                  </a:moveTo>
                  <a:lnTo>
                    <a:pt x="8124763" y="0"/>
                  </a:lnTo>
                  <a:lnTo>
                    <a:pt x="8124763" y="1076400"/>
                  </a:lnTo>
                  <a:lnTo>
                    <a:pt x="0" y="10764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7961" tIns="82550" rIns="462280" bIns="82550" numCol="1" spcCol="1270" anchor="t" anchorCtr="0">
              <a:noAutofit/>
            </a:bodyPr>
            <a:lstStyle/>
            <a:p>
              <a:pPr marL="285750" lvl="1" indent="-285750" algn="l" defTabSz="2266950">
                <a:lnSpc>
                  <a:spcPct val="90000"/>
                </a:lnSpc>
                <a:spcBef>
                  <a:spcPct val="0"/>
                </a:spcBef>
                <a:spcAft>
                  <a:spcPct val="20000"/>
                </a:spcAft>
                <a:buChar char="••"/>
              </a:pPr>
              <a:endParaRPr lang="en-GB" sz="5100" kern="1200" dirty="0"/>
            </a:p>
          </p:txBody>
        </p:sp>
        <p:sp>
          <p:nvSpPr>
            <p:cNvPr id="16" name="Freeform 15"/>
            <p:cNvSpPr/>
            <p:nvPr/>
          </p:nvSpPr>
          <p:spPr>
            <a:xfrm>
              <a:off x="477920" y="3729071"/>
              <a:ext cx="2242353" cy="1215072"/>
            </a:xfrm>
            <a:custGeom>
              <a:avLst/>
              <a:gdLst>
                <a:gd name="connsiteX0" fmla="*/ 0 w 2242353"/>
                <a:gd name="connsiteY0" fmla="*/ 202516 h 1215072"/>
                <a:gd name="connsiteX1" fmla="*/ 59316 w 2242353"/>
                <a:gd name="connsiteY1" fmla="*/ 59316 h 1215072"/>
                <a:gd name="connsiteX2" fmla="*/ 202517 w 2242353"/>
                <a:gd name="connsiteY2" fmla="*/ 1 h 1215072"/>
                <a:gd name="connsiteX3" fmla="*/ 2039837 w 2242353"/>
                <a:gd name="connsiteY3" fmla="*/ 0 h 1215072"/>
                <a:gd name="connsiteX4" fmla="*/ 2183037 w 2242353"/>
                <a:gd name="connsiteY4" fmla="*/ 59316 h 1215072"/>
                <a:gd name="connsiteX5" fmla="*/ 2242352 w 2242353"/>
                <a:gd name="connsiteY5" fmla="*/ 202517 h 1215072"/>
                <a:gd name="connsiteX6" fmla="*/ 2242353 w 2242353"/>
                <a:gd name="connsiteY6" fmla="*/ 1012556 h 1215072"/>
                <a:gd name="connsiteX7" fmla="*/ 2183037 w 2242353"/>
                <a:gd name="connsiteY7" fmla="*/ 1155756 h 1215072"/>
                <a:gd name="connsiteX8" fmla="*/ 2039836 w 2242353"/>
                <a:gd name="connsiteY8" fmla="*/ 1215072 h 1215072"/>
                <a:gd name="connsiteX9" fmla="*/ 202516 w 2242353"/>
                <a:gd name="connsiteY9" fmla="*/ 1215072 h 1215072"/>
                <a:gd name="connsiteX10" fmla="*/ 59316 w 2242353"/>
                <a:gd name="connsiteY10" fmla="*/ 1155756 h 1215072"/>
                <a:gd name="connsiteX11" fmla="*/ 1 w 2242353"/>
                <a:gd name="connsiteY11" fmla="*/ 1012555 h 1215072"/>
                <a:gd name="connsiteX12" fmla="*/ 0 w 2242353"/>
                <a:gd name="connsiteY12" fmla="*/ 202516 h 1215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42353" h="1215072">
                  <a:moveTo>
                    <a:pt x="0" y="202516"/>
                  </a:moveTo>
                  <a:cubicBezTo>
                    <a:pt x="0" y="148805"/>
                    <a:pt x="21337" y="97295"/>
                    <a:pt x="59316" y="59316"/>
                  </a:cubicBezTo>
                  <a:cubicBezTo>
                    <a:pt x="97295" y="21337"/>
                    <a:pt x="148806" y="1"/>
                    <a:pt x="202517" y="1"/>
                  </a:cubicBezTo>
                  <a:lnTo>
                    <a:pt x="2039837" y="0"/>
                  </a:lnTo>
                  <a:cubicBezTo>
                    <a:pt x="2093548" y="0"/>
                    <a:pt x="2145058" y="21337"/>
                    <a:pt x="2183037" y="59316"/>
                  </a:cubicBezTo>
                  <a:cubicBezTo>
                    <a:pt x="2221016" y="97295"/>
                    <a:pt x="2242352" y="148806"/>
                    <a:pt x="2242352" y="202517"/>
                  </a:cubicBezTo>
                  <a:cubicBezTo>
                    <a:pt x="2242352" y="472530"/>
                    <a:pt x="2242353" y="742543"/>
                    <a:pt x="2242353" y="1012556"/>
                  </a:cubicBezTo>
                  <a:cubicBezTo>
                    <a:pt x="2242353" y="1066267"/>
                    <a:pt x="2221017" y="1117777"/>
                    <a:pt x="2183037" y="1155756"/>
                  </a:cubicBezTo>
                  <a:cubicBezTo>
                    <a:pt x="2145058" y="1193735"/>
                    <a:pt x="2093547" y="1215072"/>
                    <a:pt x="2039836" y="1215072"/>
                  </a:cubicBezTo>
                  <a:lnTo>
                    <a:pt x="202516" y="1215072"/>
                  </a:lnTo>
                  <a:cubicBezTo>
                    <a:pt x="148805" y="1215072"/>
                    <a:pt x="97295" y="1193735"/>
                    <a:pt x="59316" y="1155756"/>
                  </a:cubicBezTo>
                  <a:cubicBezTo>
                    <a:pt x="21337" y="1117777"/>
                    <a:pt x="0" y="1066266"/>
                    <a:pt x="1" y="1012555"/>
                  </a:cubicBezTo>
                  <a:cubicBezTo>
                    <a:pt x="1" y="742542"/>
                    <a:pt x="0" y="472529"/>
                    <a:pt x="0" y="202516"/>
                  </a:cubicBezTo>
                  <a:close/>
                </a:path>
              </a:pathLst>
            </a:custGeom>
            <a:solidFill>
              <a:schemeClr val="bg1"/>
            </a:solidFill>
          </p:spPr>
          <p:style>
            <a:lnRef idx="2">
              <a:schemeClr val="accent2">
                <a:shade val="50000"/>
              </a:schemeClr>
            </a:lnRef>
            <a:fillRef idx="1">
              <a:schemeClr val="accent2"/>
            </a:fillRef>
            <a:effectRef idx="0">
              <a:schemeClr val="accent2"/>
            </a:effectRef>
            <a:fontRef idx="minor">
              <a:schemeClr val="dk1">
                <a:hueOff val="0"/>
                <a:satOff val="0"/>
                <a:lumOff val="0"/>
                <a:alphaOff val="0"/>
              </a:schemeClr>
            </a:fontRef>
          </p:style>
          <p:txBody>
            <a:bodyPr spcFirstLastPara="0" vert="horz" wrap="square" lIns="112655" tIns="112655" rIns="112655" bIns="112655" numCol="1" spcCol="1270" anchor="ctr" anchorCtr="0">
              <a:noAutofit/>
            </a:bodyPr>
            <a:lstStyle/>
            <a:p>
              <a:pPr lvl="0" algn="ctr" defTabSz="622300">
                <a:lnSpc>
                  <a:spcPct val="90000"/>
                </a:lnSpc>
                <a:spcBef>
                  <a:spcPct val="0"/>
                </a:spcBef>
                <a:spcAft>
                  <a:spcPct val="35000"/>
                </a:spcAft>
              </a:pPr>
              <a:r>
                <a:rPr lang="el-GR" sz="2000" b="1" kern="1200" dirty="0"/>
                <a:t>Ιούνιος 2020</a:t>
              </a:r>
            </a:p>
            <a:p>
              <a:pPr lvl="0" algn="ctr" defTabSz="622300">
                <a:lnSpc>
                  <a:spcPct val="90000"/>
                </a:lnSpc>
                <a:spcBef>
                  <a:spcPct val="0"/>
                </a:spcBef>
                <a:spcAft>
                  <a:spcPct val="35000"/>
                </a:spcAft>
              </a:pPr>
              <a:r>
                <a:rPr lang="el-GR" sz="2000" b="1" kern="1200" dirty="0"/>
                <a:t>2</a:t>
              </a:r>
              <a:r>
                <a:rPr lang="el-GR" sz="2000" b="1" kern="1200" baseline="30000" dirty="0"/>
                <a:t>η</a:t>
              </a:r>
              <a:r>
                <a:rPr lang="el-GR" sz="2000" b="1" kern="1200" dirty="0"/>
                <a:t> Φάση</a:t>
              </a:r>
              <a:endParaRPr lang="en-GB" sz="2000" kern="1200" dirty="0"/>
            </a:p>
          </p:txBody>
        </p:sp>
      </p:grpSp>
      <p:sp>
        <p:nvSpPr>
          <p:cNvPr id="8" name="Rounded Rectangle 7"/>
          <p:cNvSpPr/>
          <p:nvPr/>
        </p:nvSpPr>
        <p:spPr>
          <a:xfrm>
            <a:off x="298450" y="272156"/>
            <a:ext cx="5304908" cy="381000"/>
          </a:xfrm>
          <a:prstGeom prst="roundRect">
            <a:avLst/>
          </a:prstGeom>
        </p:spPr>
        <p:style>
          <a:lnRef idx="2">
            <a:schemeClr val="lt1">
              <a:hueOff val="0"/>
              <a:satOff val="0"/>
              <a:lumOff val="0"/>
              <a:alphaOff val="0"/>
            </a:schemeClr>
          </a:lnRef>
          <a:fillRef idx="1">
            <a:schemeClr val="accent2">
              <a:shade val="50000"/>
              <a:hueOff val="0"/>
              <a:satOff val="0"/>
              <a:lumOff val="0"/>
              <a:alphaOff val="0"/>
            </a:schemeClr>
          </a:fillRef>
          <a:effectRef idx="0">
            <a:schemeClr val="accent2">
              <a:shade val="50000"/>
              <a:hueOff val="0"/>
              <a:satOff val="0"/>
              <a:lumOff val="0"/>
              <a:alphaOff val="0"/>
            </a:schemeClr>
          </a:effectRef>
          <a:fontRef idx="minor">
            <a:schemeClr val="lt1"/>
          </a:fontRef>
        </p:style>
        <p:txBody>
          <a:bodyPr/>
          <a:lstStyle/>
          <a:p>
            <a:r>
              <a:rPr lang="el-GR" sz="2000" b="1" dirty="0"/>
              <a:t>Χρονοδιάγραμμα Εφαρμογής ΓεΣΥ</a:t>
            </a:r>
          </a:p>
        </p:txBody>
      </p:sp>
      <p:sp>
        <p:nvSpPr>
          <p:cNvPr id="11" name="TextBox 10"/>
          <p:cNvSpPr txBox="1"/>
          <p:nvPr/>
        </p:nvSpPr>
        <p:spPr>
          <a:xfrm>
            <a:off x="2685416" y="1719528"/>
            <a:ext cx="5767468" cy="1554272"/>
          </a:xfrm>
          <a:prstGeom prst="rect">
            <a:avLst/>
          </a:prstGeom>
          <a:noFill/>
        </p:spPr>
        <p:txBody>
          <a:bodyPr wrap="square" rtlCol="0">
            <a:spAutoFit/>
          </a:bodyPr>
          <a:lstStyle/>
          <a:p>
            <a:pPr>
              <a:buFont typeface="Wingdings" pitchFamily="2" charset="2"/>
              <a:buChar char="ü"/>
            </a:pPr>
            <a:r>
              <a:rPr lang="el-GR" sz="1800" b="1" dirty="0"/>
              <a:t> </a:t>
            </a:r>
            <a:r>
              <a:rPr lang="el-GR" sz="1800" b="1" dirty="0" err="1"/>
              <a:t>Εξωνοσοκομειακή</a:t>
            </a:r>
            <a:r>
              <a:rPr lang="el-GR" sz="1800" b="1" dirty="0"/>
              <a:t> φροντίδα υγείας</a:t>
            </a:r>
            <a:endParaRPr lang="el-GR" sz="1800" b="1" dirty="0">
              <a:solidFill>
                <a:srgbClr val="FF0000"/>
              </a:solidFill>
            </a:endParaRPr>
          </a:p>
          <a:p>
            <a:endParaRPr lang="el-GR" sz="800" dirty="0"/>
          </a:p>
          <a:p>
            <a:pPr lvl="1">
              <a:buFont typeface="Arial" pitchFamily="34" charset="0"/>
              <a:buChar char="•"/>
            </a:pPr>
            <a:r>
              <a:rPr lang="el-GR" sz="1800" dirty="0"/>
              <a:t> </a:t>
            </a:r>
            <a:r>
              <a:rPr lang="el-GR" sz="1700" dirty="0"/>
              <a:t>Προσωπικοί Ιατροί για ενήλικες και παιδιά</a:t>
            </a:r>
          </a:p>
          <a:p>
            <a:pPr lvl="1">
              <a:buFont typeface="Arial" pitchFamily="34" charset="0"/>
              <a:buChar char="•"/>
            </a:pPr>
            <a:r>
              <a:rPr lang="el-GR" sz="1700" dirty="0"/>
              <a:t> Ειδικοί Ιατροί</a:t>
            </a:r>
            <a:endParaRPr lang="el-GR" sz="1700" dirty="0">
              <a:solidFill>
                <a:srgbClr val="FF0000"/>
              </a:solidFill>
            </a:endParaRPr>
          </a:p>
          <a:p>
            <a:pPr lvl="1">
              <a:buFont typeface="Arial" pitchFamily="34" charset="0"/>
              <a:buChar char="•"/>
            </a:pPr>
            <a:r>
              <a:rPr lang="el-GR" sz="1700" dirty="0"/>
              <a:t> Φαρμακεία</a:t>
            </a:r>
          </a:p>
          <a:p>
            <a:pPr lvl="1">
              <a:buFont typeface="Arial" pitchFamily="34" charset="0"/>
              <a:buChar char="•"/>
            </a:pPr>
            <a:r>
              <a:rPr lang="el-GR" sz="1700" dirty="0"/>
              <a:t> Εργαστήρια</a:t>
            </a:r>
          </a:p>
        </p:txBody>
      </p:sp>
      <p:sp>
        <p:nvSpPr>
          <p:cNvPr id="12" name="TextBox 11"/>
          <p:cNvSpPr txBox="1"/>
          <p:nvPr/>
        </p:nvSpPr>
        <p:spPr>
          <a:xfrm>
            <a:off x="2692549" y="4444704"/>
            <a:ext cx="5845385" cy="1769715"/>
          </a:xfrm>
          <a:prstGeom prst="rect">
            <a:avLst/>
          </a:prstGeom>
          <a:noFill/>
        </p:spPr>
        <p:txBody>
          <a:bodyPr wrap="square" rtlCol="0">
            <a:spAutoFit/>
          </a:bodyPr>
          <a:lstStyle/>
          <a:p>
            <a:pPr>
              <a:buFont typeface="Wingdings" pitchFamily="2" charset="2"/>
              <a:buChar char="ü"/>
            </a:pPr>
            <a:r>
              <a:rPr lang="el-GR" sz="1800" b="1" dirty="0"/>
              <a:t> Πλήρης εφαρμογή του ΓεΣΥ</a:t>
            </a:r>
          </a:p>
          <a:p>
            <a:endParaRPr lang="el-GR" sz="600" dirty="0"/>
          </a:p>
          <a:p>
            <a:pPr lvl="1">
              <a:buFont typeface="Arial" pitchFamily="34" charset="0"/>
              <a:buChar char="•"/>
            </a:pPr>
            <a:r>
              <a:rPr lang="el-GR" sz="1700" dirty="0"/>
              <a:t> Ενδονοσοκομειακή Φροντίδα</a:t>
            </a:r>
          </a:p>
          <a:p>
            <a:pPr lvl="1">
              <a:buFont typeface="Arial" pitchFamily="34" charset="0"/>
              <a:buChar char="•"/>
            </a:pPr>
            <a:r>
              <a:rPr lang="el-GR" sz="1700" dirty="0"/>
              <a:t> ΤΑΕΠ και Ασθενοφόρα</a:t>
            </a:r>
          </a:p>
          <a:p>
            <a:pPr lvl="1">
              <a:buFont typeface="Arial" pitchFamily="34" charset="0"/>
              <a:buChar char="•"/>
            </a:pPr>
            <a:r>
              <a:rPr lang="el-GR" sz="1700" dirty="0"/>
              <a:t> Νοσηλευτές, Μαίες και Άλλοι Επαγγελματίες Υγείας</a:t>
            </a:r>
          </a:p>
          <a:p>
            <a:pPr lvl="1">
              <a:buFont typeface="Arial" pitchFamily="34" charset="0"/>
              <a:buChar char="•"/>
            </a:pPr>
            <a:r>
              <a:rPr lang="el-GR" sz="1700" dirty="0"/>
              <a:t> Ανακουφιστική Φροντίδα και Αποκατάσταση</a:t>
            </a:r>
            <a:endParaRPr lang="en-US" sz="1700" dirty="0"/>
          </a:p>
          <a:p>
            <a:pPr lvl="1">
              <a:buFont typeface="Arial" pitchFamily="34" charset="0"/>
              <a:buChar char="•"/>
            </a:pPr>
            <a:r>
              <a:rPr lang="el-GR" sz="1700" dirty="0"/>
              <a:t> Προληπτική Οδοντιατρική  </a:t>
            </a:r>
          </a:p>
        </p:txBody>
      </p:sp>
    </p:spTree>
  </p:cSld>
  <p:clrMapOvr>
    <a:masterClrMapping/>
  </p:clrMapOvr>
  <p:transition spd="med">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4537&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 val=&quot;.&quot;&gt;.&lt;/m_chDecimalSymbol&gt;&lt;m_nGroupingDigits val=&quot;3&quot;/&gt;&lt;m_chGroupingSymbol val=&quot;,&quot;&gt;,&lt;/m_chGroupingSymbol&gt;&lt;/m_precDefault&gt;&lt;/CDefaultPrec&gt;&lt;/root&gt;"/>
  <p:tag name="THINKCELLUNDODONOTDELETE" val="1286"/>
</p:tagLst>
</file>

<file path=ppt/tags/tag10.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1.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2.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bKNLmKj0EECivh5V6p3g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LTOP" val=" 238.25"/>
  <p:tag name="LLEFT" val=" 144.125"/>
  <p:tag name="THINKCELLSHAPEDONOTDELETE" val="dLw6fEcb1EuDXHkRsc.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UoOPgTHzo02kKcXa1nVy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oySUSctgN0uRysdE.vyeM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d6KkJyuEykWzLH8q5Eq5zw"/>
</p:tagLst>
</file>

<file path=ppt/tags/tag2.xml><?xml version="1.0" encoding="utf-8"?>
<p:tagLst xmlns:a="http://schemas.openxmlformats.org/drawingml/2006/main" xmlns:r="http://schemas.openxmlformats.org/officeDocument/2006/relationships" xmlns:p="http://schemas.openxmlformats.org/presentationml/2006/main">
  <p:tag name="RESIZE" val="Yes"/>
  <p:tag name="LLEFT" val=" 169"/>
  <p:tag name="LTOP" val=" 530.75"/>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dvE71mZcuE.9XG3pcsKC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rSNIvopX4k.r89nfpVbw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U0H5FYk0aNrZJ5z.IHvw"/>
</p:tagLst>
</file>

<file path=ppt/tags/tag23.xml><?xml version="1.0" encoding="utf-8"?>
<p:tagLst xmlns:a="http://schemas.openxmlformats.org/drawingml/2006/main" xmlns:r="http://schemas.openxmlformats.org/officeDocument/2006/relationships" xmlns:p="http://schemas.openxmlformats.org/presentationml/2006/main">
  <p:tag name="LTOP" val=" 238.25"/>
  <p:tag name="LLEFT" val=" 144.125"/>
  <p:tag name="THINKCELLSHAPEDONOTDELETE" val="SxiwNr7MqUyXdwEcwdYNuA"/>
</p:tagLst>
</file>

<file path=ppt/tags/tag24.xml><?xml version="1.0" encoding="utf-8"?>
<p:tagLst xmlns:a="http://schemas.openxmlformats.org/drawingml/2006/main" xmlns:r="http://schemas.openxmlformats.org/officeDocument/2006/relationships" xmlns:p="http://schemas.openxmlformats.org/presentationml/2006/main">
  <p:tag name="LLEFT" val=" 144.125"/>
  <p:tag name="LTOP" val=" 238.25"/>
  <p:tag name="THINKCELLSHAPEDONOTDELETE" val="GM8u8KlO40uS3VD9KfZWIQ"/>
</p:tagLst>
</file>

<file path=ppt/tags/tag25.xml><?xml version="1.0" encoding="utf-8"?>
<p:tagLst xmlns:a="http://schemas.openxmlformats.org/drawingml/2006/main" xmlns:r="http://schemas.openxmlformats.org/officeDocument/2006/relationships" xmlns:p="http://schemas.openxmlformats.org/presentationml/2006/main">
  <p:tag name="LTOP" val=" 238.25"/>
  <p:tag name="LLEFT" val=" 144.125"/>
  <p:tag name="THINKCELLSHAPEDONOTDELETE" val="F7OnAG3jh0KHPVBzCiteRw"/>
</p:tagLst>
</file>

<file path=ppt/tags/tag26.xml><?xml version="1.0" encoding="utf-8"?>
<p:tagLst xmlns:a="http://schemas.openxmlformats.org/drawingml/2006/main" xmlns:r="http://schemas.openxmlformats.org/officeDocument/2006/relationships" xmlns:p="http://schemas.openxmlformats.org/presentationml/2006/main">
  <p:tag name="LLEFT" val=" 144.125"/>
  <p:tag name="LTOP" val=" 238.25"/>
  <p:tag name="THINKCELLSHAPEDONOTDELETE" val="OF6DSwHO1E2Ax9XZ1K2R0Q"/>
</p:tagLst>
</file>

<file path=ppt/tags/tag27.xml><?xml version="1.0" encoding="utf-8"?>
<p:tagLst xmlns:a="http://schemas.openxmlformats.org/drawingml/2006/main" xmlns:r="http://schemas.openxmlformats.org/officeDocument/2006/relationships" xmlns:p="http://schemas.openxmlformats.org/presentationml/2006/main">
  <p:tag name="LTOP" val=" 238.25"/>
  <p:tag name="LLEFT" val=" 144.125"/>
  <p:tag name="THINKCELLSHAPEDONOTDELETE" val="H7.Vi6YCCE.jh4__7oZRtQ"/>
</p:tagLst>
</file>

<file path=ppt/tags/tag28.xml><?xml version="1.0" encoding="utf-8"?>
<p:tagLst xmlns:a="http://schemas.openxmlformats.org/drawingml/2006/main" xmlns:r="http://schemas.openxmlformats.org/officeDocument/2006/relationships" xmlns:p="http://schemas.openxmlformats.org/presentationml/2006/main">
  <p:tag name="LLEFT" val=" 144.125"/>
  <p:tag name="LTOP" val=" 238.25"/>
  <p:tag name="THINKCELLSHAPEDONOTDELETE" val="z3iI4H4T5U6BD5IzknJE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gReaEGiVfEOC1ooGwQH4e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eZQSOUJ75EiuU8xBW.qC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ZGhDk6iaekGQQvE3Swym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SGywz2esf0uh.c20q1Ih0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cWWwvspXZUaO8xg2bZ0Zf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FcMxxsgwzEiIFMuyCTaX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ak_L1vyFlU2rFCRpv0BL.Q"/>
</p:tagLst>
</file>

<file path=ppt/tags/tag35.xml><?xml version="1.0" encoding="utf-8"?>
<p:tagLst xmlns:a="http://schemas.openxmlformats.org/drawingml/2006/main" xmlns:r="http://schemas.openxmlformats.org/officeDocument/2006/relationships" xmlns:p="http://schemas.openxmlformats.org/presentationml/2006/main">
  <p:tag name="NAME" val="OvalShape"/>
  <p:tag name="THINKCELLSHAPEDONOTDELETE" val="alPZWTNyHUCsOmYPFdVhHw"/>
</p:tagLst>
</file>

<file path=ppt/tags/tag36.xml><?xml version="1.0" encoding="utf-8"?>
<p:tagLst xmlns:a="http://schemas.openxmlformats.org/drawingml/2006/main" xmlns:r="http://schemas.openxmlformats.org/officeDocument/2006/relationships" xmlns:p="http://schemas.openxmlformats.org/presentationml/2006/main">
  <p:tag name="NAME" val="OvalShape"/>
  <p:tag name="THINKCELLSHAPEDONOTDELETE" val="alPZWTNyHUCsOmYPFdVhHw"/>
</p:tagLst>
</file>

<file path=ppt/tags/tag37.xml><?xml version="1.0" encoding="utf-8"?>
<p:tagLst xmlns:a="http://schemas.openxmlformats.org/drawingml/2006/main" xmlns:r="http://schemas.openxmlformats.org/officeDocument/2006/relationships" xmlns:p="http://schemas.openxmlformats.org/presentationml/2006/main">
  <p:tag name="LTOP" val=" 238.25"/>
  <p:tag name="LLEFT" val=" 144.125"/>
  <p:tag name="THINKCELLSHAPEDONOTDELETE" val="itsfGeaCH0aNKIj_jEQj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0jJTv7zB8U6a1BLA1EatuA"/>
</p:tagLst>
</file>

<file path=ppt/tags/tag39.xml><?xml version="1.0" encoding="utf-8"?>
<p:tagLst xmlns:a="http://schemas.openxmlformats.org/drawingml/2006/main" xmlns:r="http://schemas.openxmlformats.org/officeDocument/2006/relationships" xmlns:p="http://schemas.openxmlformats.org/presentationml/2006/main">
  <p:tag name="RESIZE" val="Yes"/>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znfaW_DjxkqdONW4iRUj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W65TULA2EUmS1fwjqKkH2Q"/>
</p:tagLst>
</file>

<file path=ppt/tags/tag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8.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ags/tag9.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MCK CONFIDENTIAL" val="McK Disclaimer"/>
  <p:tag name="RESIZE" val="Yes"/>
</p:tagLst>
</file>

<file path=ppt/theme/theme1.xml><?xml version="1.0" encoding="utf-8"?>
<a:theme xmlns:a="http://schemas.openxmlformats.org/drawingml/2006/main" name="Blank">
  <a:themeElements>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75000"/>
          </a:schemeClr>
        </a:solidFill>
        <a:ln w="9525" cap="flat" cmpd="sng" algn="ctr">
          <a:solidFill>
            <a:schemeClr val="tx1"/>
          </a:solidFill>
          <a:prstDash val="solid"/>
          <a:round/>
          <a:headEnd type="none" w="med" len="med"/>
          <a:tailEnd type="none" w="med" len="med"/>
        </a:ln>
        <a:effectLst/>
      </a:spPr>
      <a:bodyPr vert="horz" wrap="none" lIns="91430" tIns="45715" rIns="91430" bIns="45715" numCol="1" rtlCol="0" anchor="ctr" anchorCtr="0" compatLnSpc="1">
        <a:prstTxWarp prst="textNoShape">
          <a:avLst/>
        </a:prstTxWarp>
      </a:bodyPr>
      <a:lstStyle>
        <a:defPPr marL="0" marR="0" indent="0" algn="ctr" defTabSz="895350" rtl="0" eaLnBrk="1" fontAlgn="base" latinLnBrk="0" hangingPunct="1">
          <a:lnSpc>
            <a:spcPct val="100000"/>
          </a:lnSpc>
          <a:spcBef>
            <a:spcPct val="0"/>
          </a:spcBef>
          <a:spcAft>
            <a:spcPct val="0"/>
          </a:spcAft>
          <a:buClrTx/>
          <a:buSzTx/>
          <a:buFontTx/>
          <a:buNone/>
          <a:tabLst/>
          <a:defRPr kumimoji="0"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rgbClr val="59AAF2"/>
        </a:solidFill>
        <a:ln w="9525" cap="flat" cmpd="sng" algn="ctr">
          <a:solidFill>
            <a:schemeClr val="tx1"/>
          </a:solidFill>
          <a:prstDash val="solid"/>
          <a:round/>
          <a:headEnd type="none" w="med" len="med"/>
          <a:tailEnd type="none" w="med" len="med"/>
        </a:ln>
        <a:effectLst/>
      </a:spPr>
      <a:bodyPr vert="horz" wrap="none" lIns="91430" tIns="45715" rIns="91430" bIns="45715" numCol="1" anchor="ctr" anchorCtr="0" compatLnSpc="1">
        <a:prstTxWarp prst="textNoShape">
          <a:avLst/>
        </a:prstTxWarp>
      </a:bodyPr>
      <a:lstStyle>
        <a:defPPr marL="0" marR="0" indent="0" algn="ctr" defTabSz="89535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Blank 1">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0392</TotalTime>
  <Words>1585</Words>
  <Application>Microsoft Office PowerPoint</Application>
  <PresentationFormat>Custom</PresentationFormat>
  <Paragraphs>371</Paragraphs>
  <Slides>32</Slides>
  <Notes>1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0</vt:i4>
      </vt:variant>
      <vt:variant>
        <vt:lpstr>Slide Titles</vt:lpstr>
      </vt:variant>
      <vt:variant>
        <vt:i4>32</vt:i4>
      </vt:variant>
    </vt:vector>
  </HeadingPairs>
  <TitlesOfParts>
    <vt:vector size="39" baseType="lpstr">
      <vt:lpstr>ＭＳ Ｐゴシック</vt:lpstr>
      <vt:lpstr>ＭＳ Ｐゴシック</vt:lpstr>
      <vt:lpstr>Arial</vt:lpstr>
      <vt:lpstr>Calibri</vt:lpstr>
      <vt:lpstr>Times New Roman</vt:lpstr>
      <vt:lpstr>Wingdings</vt:lpstr>
      <vt:lpstr>Blank</vt:lpstr>
      <vt:lpstr>PowerPoint Presentation</vt:lpstr>
      <vt:lpstr>PowerPoint Presentation</vt:lpstr>
      <vt:lpstr>PowerPoint Presentation</vt:lpstr>
      <vt:lpstr>PowerPoint Presentation</vt:lpstr>
      <vt:lpstr>Στην Κύπρο περίπου το 55% των συνολικών δαπανών υγείας δαπανάται στον ιδιωτικό τομέα</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Charge Co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Default User</dc:creator>
  <cp:keywords>Message Universal Template A4</cp:keywords>
  <dc:description>Version 1.1</dc:description>
  <cp:lastModifiedBy>Margarita Kyriakou</cp:lastModifiedBy>
  <cp:revision>1921</cp:revision>
  <cp:lastPrinted>2006-11-28T08:43:58Z</cp:lastPrinted>
  <dcterms:created xsi:type="dcterms:W3CDTF">2006-05-30T08:20:06Z</dcterms:created>
  <dcterms:modified xsi:type="dcterms:W3CDTF">2018-03-30T10:07:13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Παρουσίαση στην Καθοδηγητική Επιτροπή και το Διοικητικό Συμβούλιο του ΟΑΥ_x000d_
_x000d_
14 Δεκεμβρίου 2006</vt:lpwstr>
  </property>
  <property fmtid="{D5CDD505-2E9C-101B-9397-08002B2CF9AE}" pid="6" name="Delivery Date">
    <vt:lpwstr/>
  </property>
  <property fmtid="{D5CDD505-2E9C-101B-9397-08002B2CF9AE}" pid="7" name="Title">
    <vt:lpwstr>Title</vt:lpwstr>
  </property>
  <property fmtid="{D5CDD505-2E9C-101B-9397-08002B2CF9AE}" pid="8" name="Final">
    <vt:bool>true</vt:bool>
  </property>
  <property fmtid="{D5CDD505-2E9C-101B-9397-08002B2CF9AE}" pid="9" name="DocIDinTitle">
    <vt:bool>false</vt:bool>
  </property>
  <property fmtid="{D5CDD505-2E9C-101B-9397-08002B2CF9AE}" pid="10" name="DocIDinSlide">
    <vt:bool>true</vt:bool>
  </property>
  <property fmtid="{D5CDD505-2E9C-101B-9397-08002B2CF9AE}" pid="11" name="DocIDPosition">
    <vt:i4>1</vt:i4>
  </property>
  <property fmtid="{D5CDD505-2E9C-101B-9397-08002B2CF9AE}" pid="12" name="DocID">
    <vt:lpwstr/>
  </property>
  <property fmtid="{D5CDD505-2E9C-101B-9397-08002B2CF9AE}" pid="13" name="DocIDSWO">
    <vt:lpwstr>SW-CYP003-2006-11-30-STC discussion 14 December 2006 AIv0.3</vt:lpwstr>
  </property>
  <property fmtid="{D5CDD505-2E9C-101B-9397-08002B2CF9AE}" pid="14" name="SWOTitle">
    <vt:lpwstr>SW-CYP003-2006-11-30-STC discussion 14 December 2006 AIv0.3</vt:lpwstr>
  </property>
</Properties>
</file>